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1"/>
    <p:sldMasterId id="2147483683" r:id="rId2"/>
  </p:sldMasterIdLst>
  <p:notesMasterIdLst>
    <p:notesMasterId r:id="rId23"/>
  </p:notesMasterIdLst>
  <p:sldIdLst>
    <p:sldId id="256" r:id="rId3"/>
    <p:sldId id="257" r:id="rId4"/>
    <p:sldId id="267" r:id="rId5"/>
    <p:sldId id="263" r:id="rId6"/>
    <p:sldId id="261" r:id="rId7"/>
    <p:sldId id="262" r:id="rId8"/>
    <p:sldId id="264" r:id="rId9"/>
    <p:sldId id="266" r:id="rId10"/>
    <p:sldId id="268" r:id="rId11"/>
    <p:sldId id="280" r:id="rId12"/>
    <p:sldId id="269" r:id="rId13"/>
    <p:sldId id="277" r:id="rId14"/>
    <p:sldId id="271" r:id="rId15"/>
    <p:sldId id="272" r:id="rId16"/>
    <p:sldId id="274" r:id="rId17"/>
    <p:sldId id="276" r:id="rId18"/>
    <p:sldId id="273" r:id="rId19"/>
    <p:sldId id="275" r:id="rId20"/>
    <p:sldId id="278" r:id="rId21"/>
    <p:sldId id="27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658F"/>
    <a:srgbClr val="5B9BD5"/>
    <a:srgbClr val="2F5597"/>
    <a:srgbClr val="2A648E"/>
    <a:srgbClr val="1ECAD3"/>
    <a:srgbClr val="8CB7C9"/>
    <a:srgbClr val="E2E71F"/>
    <a:srgbClr val="40B4E5"/>
    <a:srgbClr val="0A5D66"/>
    <a:srgbClr val="0417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70" autoAdjust="0"/>
    <p:restoredTop sz="69454" autoAdjust="0"/>
  </p:normalViewPr>
  <p:slideViewPr>
    <p:cSldViewPr snapToGrid="0">
      <p:cViewPr varScale="1">
        <p:scale>
          <a:sx n="80" d="100"/>
          <a:sy n="80" d="100"/>
        </p:scale>
        <p:origin x="152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2AA574-143E-42BD-91FE-5FF0ECF13F0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2772BC6-D012-4204-95CA-83083FBF60C6}">
      <dgm:prSet/>
      <dgm:spPr/>
      <dgm:t>
        <a:bodyPr/>
        <a:lstStyle/>
        <a:p>
          <a:r>
            <a:rPr lang="en-US"/>
            <a:t>Improved library size (smaller chunks)</a:t>
          </a:r>
        </a:p>
      </dgm:t>
    </dgm:pt>
    <dgm:pt modelId="{02C1DAF1-E156-48B9-A0F5-909924C267BB}" type="parTrans" cxnId="{1D76BC7E-E104-4EA6-9501-FF06A5E570CC}">
      <dgm:prSet/>
      <dgm:spPr/>
      <dgm:t>
        <a:bodyPr/>
        <a:lstStyle/>
        <a:p>
          <a:endParaRPr lang="en-US"/>
        </a:p>
      </dgm:t>
    </dgm:pt>
    <dgm:pt modelId="{2C5AC3EC-FC8B-4FA2-B01E-EF3620C1B370}" type="sibTrans" cxnId="{1D76BC7E-E104-4EA6-9501-FF06A5E570CC}">
      <dgm:prSet/>
      <dgm:spPr/>
      <dgm:t>
        <a:bodyPr/>
        <a:lstStyle/>
        <a:p>
          <a:endParaRPr lang="en-US"/>
        </a:p>
      </dgm:t>
    </dgm:pt>
    <dgm:pt modelId="{3A28EA45-8703-4948-B12A-688E106AD5DC}">
      <dgm:prSet/>
      <dgm:spPr/>
      <dgm:t>
        <a:bodyPr/>
        <a:lstStyle/>
        <a:p>
          <a:r>
            <a:rPr lang="en-US"/>
            <a:t>Improved fluent syntax</a:t>
          </a:r>
        </a:p>
      </dgm:t>
    </dgm:pt>
    <dgm:pt modelId="{7351AB50-6EAA-42D5-B9CC-22B4D6B61ADA}" type="parTrans" cxnId="{EBFD778D-90C9-4301-9E28-EA259BDAF4AA}">
      <dgm:prSet/>
      <dgm:spPr/>
      <dgm:t>
        <a:bodyPr/>
        <a:lstStyle/>
        <a:p>
          <a:endParaRPr lang="en-US"/>
        </a:p>
      </dgm:t>
    </dgm:pt>
    <dgm:pt modelId="{4ADCBF5F-8126-422E-8B13-A26DEF981E37}" type="sibTrans" cxnId="{EBFD778D-90C9-4301-9E28-EA259BDAF4AA}">
      <dgm:prSet/>
      <dgm:spPr/>
      <dgm:t>
        <a:bodyPr/>
        <a:lstStyle/>
        <a:p>
          <a:endParaRPr lang="en-US"/>
        </a:p>
      </dgm:t>
    </dgm:pt>
    <dgm:pt modelId="{CFD4A1A8-64FC-4538-85AB-62D84E2E4F54}">
      <dgm:prSet/>
      <dgm:spPr/>
      <dgm:t>
        <a:bodyPr/>
        <a:lstStyle/>
        <a:p>
          <a:r>
            <a:rPr lang="en-US"/>
            <a:t>Improved documentation and test coverage</a:t>
          </a:r>
        </a:p>
      </dgm:t>
    </dgm:pt>
    <dgm:pt modelId="{EEED0E39-E97A-4A4F-B10A-2A6B2DAB5689}" type="parTrans" cxnId="{49A0A223-216E-4D80-BC78-4F8216EFE76F}">
      <dgm:prSet/>
      <dgm:spPr/>
      <dgm:t>
        <a:bodyPr/>
        <a:lstStyle/>
        <a:p>
          <a:endParaRPr lang="en-US"/>
        </a:p>
      </dgm:t>
    </dgm:pt>
    <dgm:pt modelId="{98396F53-1F1A-4539-82A7-F665654BA16B}" type="sibTrans" cxnId="{49A0A223-216E-4D80-BC78-4F8216EFE76F}">
      <dgm:prSet/>
      <dgm:spPr/>
      <dgm:t>
        <a:bodyPr/>
        <a:lstStyle/>
        <a:p>
          <a:endParaRPr lang="en-US"/>
        </a:p>
      </dgm:t>
    </dgm:pt>
    <dgm:pt modelId="{0D9DEBEF-8916-43CF-AEC6-04A3A681CB7A}">
      <dgm:prSet/>
      <dgm:spPr/>
      <dgm:t>
        <a:bodyPr/>
        <a:lstStyle/>
        <a:p>
          <a:r>
            <a:rPr lang="en-US"/>
            <a:t>Limited IE11 support </a:t>
          </a:r>
        </a:p>
      </dgm:t>
    </dgm:pt>
    <dgm:pt modelId="{65820D2D-8C90-4BE9-82B5-F13E1A237EE0}" type="parTrans" cxnId="{400F416C-A7D9-468C-A33A-0073A3EE8E1C}">
      <dgm:prSet/>
      <dgm:spPr/>
      <dgm:t>
        <a:bodyPr/>
        <a:lstStyle/>
        <a:p>
          <a:endParaRPr lang="en-US"/>
        </a:p>
      </dgm:t>
    </dgm:pt>
    <dgm:pt modelId="{827227C8-E34E-4BC9-AC93-B64217A6D85A}" type="sibTrans" cxnId="{400F416C-A7D9-468C-A33A-0073A3EE8E1C}">
      <dgm:prSet/>
      <dgm:spPr/>
      <dgm:t>
        <a:bodyPr/>
        <a:lstStyle/>
        <a:p>
          <a:endParaRPr lang="en-US"/>
        </a:p>
      </dgm:t>
    </dgm:pt>
    <dgm:pt modelId="{532AF0C3-2B37-4E64-9D7D-A47F0DD63B84}" type="pres">
      <dgm:prSet presAssocID="{192AA574-143E-42BD-91FE-5FF0ECF13F07}" presName="Name0" presStyleCnt="0">
        <dgm:presLayoutVars>
          <dgm:dir/>
          <dgm:animLvl val="lvl"/>
          <dgm:resizeHandles val="exact"/>
        </dgm:presLayoutVars>
      </dgm:prSet>
      <dgm:spPr/>
    </dgm:pt>
    <dgm:pt modelId="{7C487130-8A35-4460-80E3-90646B71611C}" type="pres">
      <dgm:prSet presAssocID="{A2772BC6-D012-4204-95CA-83083FBF60C6}" presName="linNode" presStyleCnt="0"/>
      <dgm:spPr/>
    </dgm:pt>
    <dgm:pt modelId="{817A7C6B-A872-4C12-8485-FFF786250973}" type="pres">
      <dgm:prSet presAssocID="{A2772BC6-D012-4204-95CA-83083FBF60C6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FFA14E85-CF01-4A18-8B63-142CF6FC0809}" type="pres">
      <dgm:prSet presAssocID="{2C5AC3EC-FC8B-4FA2-B01E-EF3620C1B370}" presName="sp" presStyleCnt="0"/>
      <dgm:spPr/>
    </dgm:pt>
    <dgm:pt modelId="{2A480B24-53D7-4FD8-9B9C-DBA22BC832E7}" type="pres">
      <dgm:prSet presAssocID="{3A28EA45-8703-4948-B12A-688E106AD5DC}" presName="linNode" presStyleCnt="0"/>
      <dgm:spPr/>
    </dgm:pt>
    <dgm:pt modelId="{1F18E7E3-ADD2-49F3-8A6B-CA798EB13191}" type="pres">
      <dgm:prSet presAssocID="{3A28EA45-8703-4948-B12A-688E106AD5DC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3497B8DF-6118-424B-A897-58188A5C8DA7}" type="pres">
      <dgm:prSet presAssocID="{4ADCBF5F-8126-422E-8B13-A26DEF981E37}" presName="sp" presStyleCnt="0"/>
      <dgm:spPr/>
    </dgm:pt>
    <dgm:pt modelId="{D836EFBA-D8F3-4694-BD80-80E7818A43FB}" type="pres">
      <dgm:prSet presAssocID="{CFD4A1A8-64FC-4538-85AB-62D84E2E4F54}" presName="linNode" presStyleCnt="0"/>
      <dgm:spPr/>
    </dgm:pt>
    <dgm:pt modelId="{4ECCF60A-2B2C-49DE-B11D-463DC306B953}" type="pres">
      <dgm:prSet presAssocID="{CFD4A1A8-64FC-4538-85AB-62D84E2E4F54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0D7D85C1-30A7-4AC8-A841-C330B23C55A0}" type="pres">
      <dgm:prSet presAssocID="{98396F53-1F1A-4539-82A7-F665654BA16B}" presName="sp" presStyleCnt="0"/>
      <dgm:spPr/>
    </dgm:pt>
    <dgm:pt modelId="{6F4E61A0-8516-4B16-AC10-86A5BEEE08B4}" type="pres">
      <dgm:prSet presAssocID="{0D9DEBEF-8916-43CF-AEC6-04A3A681CB7A}" presName="linNode" presStyleCnt="0"/>
      <dgm:spPr/>
    </dgm:pt>
    <dgm:pt modelId="{52EFE4FE-37DE-485D-8175-3097EB5CA96D}" type="pres">
      <dgm:prSet presAssocID="{0D9DEBEF-8916-43CF-AEC6-04A3A681CB7A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99D25A05-5224-426A-8AC5-5A1C143D0F7D}" type="presOf" srcId="{3A28EA45-8703-4948-B12A-688E106AD5DC}" destId="{1F18E7E3-ADD2-49F3-8A6B-CA798EB13191}" srcOrd="0" destOrd="0" presId="urn:microsoft.com/office/officeart/2005/8/layout/vList5"/>
    <dgm:cxn modelId="{49A0A223-216E-4D80-BC78-4F8216EFE76F}" srcId="{192AA574-143E-42BD-91FE-5FF0ECF13F07}" destId="{CFD4A1A8-64FC-4538-85AB-62D84E2E4F54}" srcOrd="2" destOrd="0" parTransId="{EEED0E39-E97A-4A4F-B10A-2A6B2DAB5689}" sibTransId="{98396F53-1F1A-4539-82A7-F665654BA16B}"/>
    <dgm:cxn modelId="{400F416C-A7D9-468C-A33A-0073A3EE8E1C}" srcId="{192AA574-143E-42BD-91FE-5FF0ECF13F07}" destId="{0D9DEBEF-8916-43CF-AEC6-04A3A681CB7A}" srcOrd="3" destOrd="0" parTransId="{65820D2D-8C90-4BE9-82B5-F13E1A237EE0}" sibTransId="{827227C8-E34E-4BC9-AC93-B64217A6D85A}"/>
    <dgm:cxn modelId="{5C773D53-8418-480C-B009-6D3B5F53CCC7}" type="presOf" srcId="{192AA574-143E-42BD-91FE-5FF0ECF13F07}" destId="{532AF0C3-2B37-4E64-9D7D-A47F0DD63B84}" srcOrd="0" destOrd="0" presId="urn:microsoft.com/office/officeart/2005/8/layout/vList5"/>
    <dgm:cxn modelId="{213E795A-1C38-4B02-93D9-8DF8E82D5F50}" type="presOf" srcId="{0D9DEBEF-8916-43CF-AEC6-04A3A681CB7A}" destId="{52EFE4FE-37DE-485D-8175-3097EB5CA96D}" srcOrd="0" destOrd="0" presId="urn:microsoft.com/office/officeart/2005/8/layout/vList5"/>
    <dgm:cxn modelId="{6FA3737D-3E1E-4BC5-840B-34C36F0A43FB}" type="presOf" srcId="{CFD4A1A8-64FC-4538-85AB-62D84E2E4F54}" destId="{4ECCF60A-2B2C-49DE-B11D-463DC306B953}" srcOrd="0" destOrd="0" presId="urn:microsoft.com/office/officeart/2005/8/layout/vList5"/>
    <dgm:cxn modelId="{1D76BC7E-E104-4EA6-9501-FF06A5E570CC}" srcId="{192AA574-143E-42BD-91FE-5FF0ECF13F07}" destId="{A2772BC6-D012-4204-95CA-83083FBF60C6}" srcOrd="0" destOrd="0" parTransId="{02C1DAF1-E156-48B9-A0F5-909924C267BB}" sibTransId="{2C5AC3EC-FC8B-4FA2-B01E-EF3620C1B370}"/>
    <dgm:cxn modelId="{EBFD778D-90C9-4301-9E28-EA259BDAF4AA}" srcId="{192AA574-143E-42BD-91FE-5FF0ECF13F07}" destId="{3A28EA45-8703-4948-B12A-688E106AD5DC}" srcOrd="1" destOrd="0" parTransId="{7351AB50-6EAA-42D5-B9CC-22B4D6B61ADA}" sibTransId="{4ADCBF5F-8126-422E-8B13-A26DEF981E37}"/>
    <dgm:cxn modelId="{64D09ECE-4540-4C78-8C9E-8A6457062E61}" type="presOf" srcId="{A2772BC6-D012-4204-95CA-83083FBF60C6}" destId="{817A7C6B-A872-4C12-8485-FFF786250973}" srcOrd="0" destOrd="0" presId="urn:microsoft.com/office/officeart/2005/8/layout/vList5"/>
    <dgm:cxn modelId="{8FD4AAE2-C763-4296-98BD-3D37BF0C6F83}" type="presParOf" srcId="{532AF0C3-2B37-4E64-9D7D-A47F0DD63B84}" destId="{7C487130-8A35-4460-80E3-90646B71611C}" srcOrd="0" destOrd="0" presId="urn:microsoft.com/office/officeart/2005/8/layout/vList5"/>
    <dgm:cxn modelId="{AC5AF806-2ABF-4F66-8DE9-50D0E13D4F28}" type="presParOf" srcId="{7C487130-8A35-4460-80E3-90646B71611C}" destId="{817A7C6B-A872-4C12-8485-FFF786250973}" srcOrd="0" destOrd="0" presId="urn:microsoft.com/office/officeart/2005/8/layout/vList5"/>
    <dgm:cxn modelId="{0D42EFBE-7CEC-4EBF-9539-B814DDBA2790}" type="presParOf" srcId="{532AF0C3-2B37-4E64-9D7D-A47F0DD63B84}" destId="{FFA14E85-CF01-4A18-8B63-142CF6FC0809}" srcOrd="1" destOrd="0" presId="urn:microsoft.com/office/officeart/2005/8/layout/vList5"/>
    <dgm:cxn modelId="{F5F55E20-C477-41FF-9B22-73A9E4BDD4B2}" type="presParOf" srcId="{532AF0C3-2B37-4E64-9D7D-A47F0DD63B84}" destId="{2A480B24-53D7-4FD8-9B9C-DBA22BC832E7}" srcOrd="2" destOrd="0" presId="urn:microsoft.com/office/officeart/2005/8/layout/vList5"/>
    <dgm:cxn modelId="{139743B9-C7AD-459A-B9A3-0DE5CBDE4096}" type="presParOf" srcId="{2A480B24-53D7-4FD8-9B9C-DBA22BC832E7}" destId="{1F18E7E3-ADD2-49F3-8A6B-CA798EB13191}" srcOrd="0" destOrd="0" presId="urn:microsoft.com/office/officeart/2005/8/layout/vList5"/>
    <dgm:cxn modelId="{7BE2CBDE-56B4-4B2C-8075-1966A466BC92}" type="presParOf" srcId="{532AF0C3-2B37-4E64-9D7D-A47F0DD63B84}" destId="{3497B8DF-6118-424B-A897-58188A5C8DA7}" srcOrd="3" destOrd="0" presId="urn:microsoft.com/office/officeart/2005/8/layout/vList5"/>
    <dgm:cxn modelId="{94A0500F-F57B-4D2C-ADAB-BB926D7903B6}" type="presParOf" srcId="{532AF0C3-2B37-4E64-9D7D-A47F0DD63B84}" destId="{D836EFBA-D8F3-4694-BD80-80E7818A43FB}" srcOrd="4" destOrd="0" presId="urn:microsoft.com/office/officeart/2005/8/layout/vList5"/>
    <dgm:cxn modelId="{E18A69D0-9EF1-4F49-9237-A1D65F258EA9}" type="presParOf" srcId="{D836EFBA-D8F3-4694-BD80-80E7818A43FB}" destId="{4ECCF60A-2B2C-49DE-B11D-463DC306B953}" srcOrd="0" destOrd="0" presId="urn:microsoft.com/office/officeart/2005/8/layout/vList5"/>
    <dgm:cxn modelId="{0493875F-F5A4-4E9D-9C9F-00C8BC78089F}" type="presParOf" srcId="{532AF0C3-2B37-4E64-9D7D-A47F0DD63B84}" destId="{0D7D85C1-30A7-4AC8-A841-C330B23C55A0}" srcOrd="5" destOrd="0" presId="urn:microsoft.com/office/officeart/2005/8/layout/vList5"/>
    <dgm:cxn modelId="{B42CC6F8-1846-4713-8259-A0090A8EB091}" type="presParOf" srcId="{532AF0C3-2B37-4E64-9D7D-A47F0DD63B84}" destId="{6F4E61A0-8516-4B16-AC10-86A5BEEE08B4}" srcOrd="6" destOrd="0" presId="urn:microsoft.com/office/officeart/2005/8/layout/vList5"/>
    <dgm:cxn modelId="{3E8981F1-AEF5-42E3-A85C-F9FC73046931}" type="presParOf" srcId="{6F4E61A0-8516-4B16-AC10-86A5BEEE08B4}" destId="{52EFE4FE-37DE-485D-8175-3097EB5CA96D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1E0170A-F686-473B-BDB1-8FB7DAE8CC5F}" type="doc">
      <dgm:prSet loTypeId="urn:microsoft.com/office/officeart/2005/8/layout/vList4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9386CA38-459B-49AD-A58D-F8358B1A1D8D}">
      <dgm:prSet phldrT="[Text]"/>
      <dgm:spPr/>
      <dgm:t>
        <a:bodyPr/>
        <a:lstStyle/>
        <a:p>
          <a:r>
            <a:rPr lang="en-US" dirty="0"/>
            <a:t>SharePoint Online</a:t>
          </a:r>
        </a:p>
      </dgm:t>
    </dgm:pt>
    <dgm:pt modelId="{5CD6FED5-EF86-4AE0-B0F1-B3741E0ADD33}" type="parTrans" cxnId="{A50CD3AD-96B8-454F-98CE-CDC91E3CEEA4}">
      <dgm:prSet/>
      <dgm:spPr/>
      <dgm:t>
        <a:bodyPr/>
        <a:lstStyle/>
        <a:p>
          <a:endParaRPr lang="en-US"/>
        </a:p>
      </dgm:t>
    </dgm:pt>
    <dgm:pt modelId="{2E7B87C9-219E-4EC7-BE53-DB31BD24F1E2}" type="sibTrans" cxnId="{A50CD3AD-96B8-454F-98CE-CDC91E3CEEA4}">
      <dgm:prSet/>
      <dgm:spPr/>
      <dgm:t>
        <a:bodyPr/>
        <a:lstStyle/>
        <a:p>
          <a:endParaRPr lang="en-US"/>
        </a:p>
      </dgm:t>
    </dgm:pt>
    <dgm:pt modelId="{EB6783F5-F2B8-4007-8460-C1EB353AF536}">
      <dgm:prSet phldrT="[Text]"/>
      <dgm:spPr/>
      <dgm:t>
        <a:bodyPr/>
        <a:lstStyle/>
        <a:p>
          <a:r>
            <a:rPr lang="en-US" dirty="0"/>
            <a:t>SharePoint 2013, 2016, 2019</a:t>
          </a:r>
        </a:p>
      </dgm:t>
    </dgm:pt>
    <dgm:pt modelId="{3B391E93-5B33-44E4-97FE-09F948E5FDF1}" type="parTrans" cxnId="{D883B847-32E4-4383-BBD8-96C235981E71}">
      <dgm:prSet/>
      <dgm:spPr/>
      <dgm:t>
        <a:bodyPr/>
        <a:lstStyle/>
        <a:p>
          <a:endParaRPr lang="en-US"/>
        </a:p>
      </dgm:t>
    </dgm:pt>
    <dgm:pt modelId="{DCCC3F97-8943-446E-9DB7-401183BD321B}" type="sibTrans" cxnId="{D883B847-32E4-4383-BBD8-96C235981E71}">
      <dgm:prSet/>
      <dgm:spPr/>
      <dgm:t>
        <a:bodyPr/>
        <a:lstStyle/>
        <a:p>
          <a:endParaRPr lang="en-US"/>
        </a:p>
      </dgm:t>
    </dgm:pt>
    <dgm:pt modelId="{72F7A080-35B8-43C7-8E04-821E308D0612}" type="pres">
      <dgm:prSet presAssocID="{F1E0170A-F686-473B-BDB1-8FB7DAE8CC5F}" presName="linear" presStyleCnt="0">
        <dgm:presLayoutVars>
          <dgm:dir/>
          <dgm:resizeHandles val="exact"/>
        </dgm:presLayoutVars>
      </dgm:prSet>
      <dgm:spPr/>
    </dgm:pt>
    <dgm:pt modelId="{ED5D0DC7-FD1C-41A3-A815-0EB7AD6545B6}" type="pres">
      <dgm:prSet presAssocID="{9386CA38-459B-49AD-A58D-F8358B1A1D8D}" presName="comp" presStyleCnt="0"/>
      <dgm:spPr/>
    </dgm:pt>
    <dgm:pt modelId="{EF576896-917B-4808-8970-ADC120D46286}" type="pres">
      <dgm:prSet presAssocID="{9386CA38-459B-49AD-A58D-F8358B1A1D8D}" presName="box" presStyleLbl="node1" presStyleIdx="0" presStyleCnt="2" custLinFactNeighborX="0" custLinFactNeighborY="-6221"/>
      <dgm:spPr/>
    </dgm:pt>
    <dgm:pt modelId="{B2E738D7-2FDB-4EC0-9DFD-95CBA095916C}" type="pres">
      <dgm:prSet presAssocID="{9386CA38-459B-49AD-A58D-F8358B1A1D8D}" presName="img" presStyleLbl="fgImgPlac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60F9AF39-C542-478D-8EA5-270B5C1B11A3}" type="pres">
      <dgm:prSet presAssocID="{9386CA38-459B-49AD-A58D-F8358B1A1D8D}" presName="text" presStyleLbl="node1" presStyleIdx="0" presStyleCnt="2">
        <dgm:presLayoutVars>
          <dgm:bulletEnabled val="1"/>
        </dgm:presLayoutVars>
      </dgm:prSet>
      <dgm:spPr/>
    </dgm:pt>
    <dgm:pt modelId="{3CD4405A-5EE9-47E7-8F11-3FA34B7045F9}" type="pres">
      <dgm:prSet presAssocID="{2E7B87C9-219E-4EC7-BE53-DB31BD24F1E2}" presName="spacer" presStyleCnt="0"/>
      <dgm:spPr/>
    </dgm:pt>
    <dgm:pt modelId="{AADB966C-8EB3-4376-A0C0-9AECFF65156E}" type="pres">
      <dgm:prSet presAssocID="{EB6783F5-F2B8-4007-8460-C1EB353AF536}" presName="comp" presStyleCnt="0"/>
      <dgm:spPr/>
    </dgm:pt>
    <dgm:pt modelId="{01EBDB9F-FC09-4A87-AA28-AACB74617E84}" type="pres">
      <dgm:prSet presAssocID="{EB6783F5-F2B8-4007-8460-C1EB353AF536}" presName="box" presStyleLbl="node1" presStyleIdx="1" presStyleCnt="2"/>
      <dgm:spPr/>
    </dgm:pt>
    <dgm:pt modelId="{B982528A-2D64-4DFA-AB62-65FD84BCADE1}" type="pres">
      <dgm:prSet presAssocID="{EB6783F5-F2B8-4007-8460-C1EB353AF536}" presName="img" presStyleLbl="fgImgPlace1" presStyleIdx="1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B8D83E1F-CCE7-42F3-9DEA-542E692FC748}" type="pres">
      <dgm:prSet presAssocID="{EB6783F5-F2B8-4007-8460-C1EB353AF536}" presName="text" presStyleLbl="node1" presStyleIdx="1" presStyleCnt="2">
        <dgm:presLayoutVars>
          <dgm:bulletEnabled val="1"/>
        </dgm:presLayoutVars>
      </dgm:prSet>
      <dgm:spPr/>
    </dgm:pt>
  </dgm:ptLst>
  <dgm:cxnLst>
    <dgm:cxn modelId="{43E8DF64-268A-4258-B645-99820611FA5F}" type="presOf" srcId="{EB6783F5-F2B8-4007-8460-C1EB353AF536}" destId="{01EBDB9F-FC09-4A87-AA28-AACB74617E84}" srcOrd="0" destOrd="0" presId="urn:microsoft.com/office/officeart/2005/8/layout/vList4"/>
    <dgm:cxn modelId="{D883B847-32E4-4383-BBD8-96C235981E71}" srcId="{F1E0170A-F686-473B-BDB1-8FB7DAE8CC5F}" destId="{EB6783F5-F2B8-4007-8460-C1EB353AF536}" srcOrd="1" destOrd="0" parTransId="{3B391E93-5B33-44E4-97FE-09F948E5FDF1}" sibTransId="{DCCC3F97-8943-446E-9DB7-401183BD321B}"/>
    <dgm:cxn modelId="{38947B4E-031E-4020-81CF-24D1AA970A1F}" type="presOf" srcId="{EB6783F5-F2B8-4007-8460-C1EB353AF536}" destId="{B8D83E1F-CCE7-42F3-9DEA-542E692FC748}" srcOrd="1" destOrd="0" presId="urn:microsoft.com/office/officeart/2005/8/layout/vList4"/>
    <dgm:cxn modelId="{C2092196-8896-4322-B25F-C776EA82F99A}" type="presOf" srcId="{9386CA38-459B-49AD-A58D-F8358B1A1D8D}" destId="{EF576896-917B-4808-8970-ADC120D46286}" srcOrd="0" destOrd="0" presId="urn:microsoft.com/office/officeart/2005/8/layout/vList4"/>
    <dgm:cxn modelId="{E806CBA9-B7B3-4E9F-B0A4-86B1F33D3ADA}" type="presOf" srcId="{9386CA38-459B-49AD-A58D-F8358B1A1D8D}" destId="{60F9AF39-C542-478D-8EA5-270B5C1B11A3}" srcOrd="1" destOrd="0" presId="urn:microsoft.com/office/officeart/2005/8/layout/vList4"/>
    <dgm:cxn modelId="{A50CD3AD-96B8-454F-98CE-CDC91E3CEEA4}" srcId="{F1E0170A-F686-473B-BDB1-8FB7DAE8CC5F}" destId="{9386CA38-459B-49AD-A58D-F8358B1A1D8D}" srcOrd="0" destOrd="0" parTransId="{5CD6FED5-EF86-4AE0-B0F1-B3741E0ADD33}" sibTransId="{2E7B87C9-219E-4EC7-BE53-DB31BD24F1E2}"/>
    <dgm:cxn modelId="{ED3B89B4-2955-424A-AEDF-AB331C7185F3}" type="presOf" srcId="{F1E0170A-F686-473B-BDB1-8FB7DAE8CC5F}" destId="{72F7A080-35B8-43C7-8E04-821E308D0612}" srcOrd="0" destOrd="0" presId="urn:microsoft.com/office/officeart/2005/8/layout/vList4"/>
    <dgm:cxn modelId="{CCB8B181-3279-4E19-8629-E7B7BDF06335}" type="presParOf" srcId="{72F7A080-35B8-43C7-8E04-821E308D0612}" destId="{ED5D0DC7-FD1C-41A3-A815-0EB7AD6545B6}" srcOrd="0" destOrd="0" presId="urn:microsoft.com/office/officeart/2005/8/layout/vList4"/>
    <dgm:cxn modelId="{5EC83CAC-1C2F-4596-890E-6352E76751C1}" type="presParOf" srcId="{ED5D0DC7-FD1C-41A3-A815-0EB7AD6545B6}" destId="{EF576896-917B-4808-8970-ADC120D46286}" srcOrd="0" destOrd="0" presId="urn:microsoft.com/office/officeart/2005/8/layout/vList4"/>
    <dgm:cxn modelId="{7DB12035-9EDA-4C85-A654-3ECF19BAD72C}" type="presParOf" srcId="{ED5D0DC7-FD1C-41A3-A815-0EB7AD6545B6}" destId="{B2E738D7-2FDB-4EC0-9DFD-95CBA095916C}" srcOrd="1" destOrd="0" presId="urn:microsoft.com/office/officeart/2005/8/layout/vList4"/>
    <dgm:cxn modelId="{0074B688-56C5-4045-8EB3-084BE99FB832}" type="presParOf" srcId="{ED5D0DC7-FD1C-41A3-A815-0EB7AD6545B6}" destId="{60F9AF39-C542-478D-8EA5-270B5C1B11A3}" srcOrd="2" destOrd="0" presId="urn:microsoft.com/office/officeart/2005/8/layout/vList4"/>
    <dgm:cxn modelId="{7B1DC28F-DAC4-4857-B6DF-C6226E107E5E}" type="presParOf" srcId="{72F7A080-35B8-43C7-8E04-821E308D0612}" destId="{3CD4405A-5EE9-47E7-8F11-3FA34B7045F9}" srcOrd="1" destOrd="0" presId="urn:microsoft.com/office/officeart/2005/8/layout/vList4"/>
    <dgm:cxn modelId="{8C888B81-9CF1-4FBC-A657-84EB173A392D}" type="presParOf" srcId="{72F7A080-35B8-43C7-8E04-821E308D0612}" destId="{AADB966C-8EB3-4376-A0C0-9AECFF65156E}" srcOrd="2" destOrd="0" presId="urn:microsoft.com/office/officeart/2005/8/layout/vList4"/>
    <dgm:cxn modelId="{F323377D-BAD7-48C7-96AD-DC59049D3537}" type="presParOf" srcId="{AADB966C-8EB3-4376-A0C0-9AECFF65156E}" destId="{01EBDB9F-FC09-4A87-AA28-AACB74617E84}" srcOrd="0" destOrd="0" presId="urn:microsoft.com/office/officeart/2005/8/layout/vList4"/>
    <dgm:cxn modelId="{161FC23D-823B-4242-972E-FE0D295E97C0}" type="presParOf" srcId="{AADB966C-8EB3-4376-A0C0-9AECFF65156E}" destId="{B982528A-2D64-4DFA-AB62-65FD84BCADE1}" srcOrd="1" destOrd="0" presId="urn:microsoft.com/office/officeart/2005/8/layout/vList4"/>
    <dgm:cxn modelId="{A554A431-1AE4-47BB-8291-9B6F6FAFE2D0}" type="presParOf" srcId="{AADB966C-8EB3-4376-A0C0-9AECFF65156E}" destId="{B8D83E1F-CCE7-42F3-9DEA-542E692FC74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A7C6B-A872-4C12-8485-FFF786250973}">
      <dsp:nvSpPr>
        <dsp:cNvPr id="0" name=""/>
        <dsp:cNvSpPr/>
      </dsp:nvSpPr>
      <dsp:spPr>
        <a:xfrm>
          <a:off x="3316224" y="1824"/>
          <a:ext cx="3730752" cy="8774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mproved library size (smaller chunks)</a:t>
          </a:r>
        </a:p>
      </dsp:txBody>
      <dsp:txXfrm>
        <a:off x="3359056" y="44656"/>
        <a:ext cx="3645088" cy="791746"/>
      </dsp:txXfrm>
    </dsp:sp>
    <dsp:sp modelId="{1F18E7E3-ADD2-49F3-8A6B-CA798EB13191}">
      <dsp:nvSpPr>
        <dsp:cNvPr id="0" name=""/>
        <dsp:cNvSpPr/>
      </dsp:nvSpPr>
      <dsp:spPr>
        <a:xfrm>
          <a:off x="3316224" y="923104"/>
          <a:ext cx="3730752" cy="8774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mproved fluent syntax</a:t>
          </a:r>
        </a:p>
      </dsp:txBody>
      <dsp:txXfrm>
        <a:off x="3359056" y="965936"/>
        <a:ext cx="3645088" cy="791746"/>
      </dsp:txXfrm>
    </dsp:sp>
    <dsp:sp modelId="{4ECCF60A-2B2C-49DE-B11D-463DC306B953}">
      <dsp:nvSpPr>
        <dsp:cNvPr id="0" name=""/>
        <dsp:cNvSpPr/>
      </dsp:nvSpPr>
      <dsp:spPr>
        <a:xfrm>
          <a:off x="3316224" y="1844385"/>
          <a:ext cx="3730752" cy="8774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mproved documentation and test coverage</a:t>
          </a:r>
        </a:p>
      </dsp:txBody>
      <dsp:txXfrm>
        <a:off x="3359056" y="1887217"/>
        <a:ext cx="3645088" cy="791746"/>
      </dsp:txXfrm>
    </dsp:sp>
    <dsp:sp modelId="{52EFE4FE-37DE-485D-8175-3097EB5CA96D}">
      <dsp:nvSpPr>
        <dsp:cNvPr id="0" name=""/>
        <dsp:cNvSpPr/>
      </dsp:nvSpPr>
      <dsp:spPr>
        <a:xfrm>
          <a:off x="3316224" y="2765665"/>
          <a:ext cx="3730752" cy="8774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imited IE11 support </a:t>
          </a:r>
        </a:p>
      </dsp:txBody>
      <dsp:txXfrm>
        <a:off x="3359056" y="2808497"/>
        <a:ext cx="3645088" cy="7917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576896-917B-4808-8970-ADC120D46286}">
      <dsp:nvSpPr>
        <dsp:cNvPr id="0" name=""/>
        <dsp:cNvSpPr/>
      </dsp:nvSpPr>
      <dsp:spPr>
        <a:xfrm>
          <a:off x="0" y="0"/>
          <a:ext cx="7521903" cy="2037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marL="0" lvl="0" indent="0" algn="l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700" kern="1200" dirty="0"/>
            <a:t>SharePoint Online</a:t>
          </a:r>
        </a:p>
      </dsp:txBody>
      <dsp:txXfrm>
        <a:off x="1708086" y="0"/>
        <a:ext cx="5813816" cy="2037063"/>
      </dsp:txXfrm>
    </dsp:sp>
    <dsp:sp modelId="{B2E738D7-2FDB-4EC0-9DFD-95CBA095916C}">
      <dsp:nvSpPr>
        <dsp:cNvPr id="0" name=""/>
        <dsp:cNvSpPr/>
      </dsp:nvSpPr>
      <dsp:spPr>
        <a:xfrm>
          <a:off x="203706" y="203706"/>
          <a:ext cx="1504380" cy="162965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EBDB9F-FC09-4A87-AA28-AACB74617E84}">
      <dsp:nvSpPr>
        <dsp:cNvPr id="0" name=""/>
        <dsp:cNvSpPr/>
      </dsp:nvSpPr>
      <dsp:spPr>
        <a:xfrm>
          <a:off x="0" y="2240769"/>
          <a:ext cx="7521903" cy="2037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marL="0" lvl="0" indent="0" algn="l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700" kern="1200" dirty="0"/>
            <a:t>SharePoint 2013, 2016, 2019</a:t>
          </a:r>
        </a:p>
      </dsp:txBody>
      <dsp:txXfrm>
        <a:off x="1708086" y="2240769"/>
        <a:ext cx="5813816" cy="2037063"/>
      </dsp:txXfrm>
    </dsp:sp>
    <dsp:sp modelId="{B982528A-2D64-4DFA-AB62-65FD84BCADE1}">
      <dsp:nvSpPr>
        <dsp:cNvPr id="0" name=""/>
        <dsp:cNvSpPr/>
      </dsp:nvSpPr>
      <dsp:spPr>
        <a:xfrm>
          <a:off x="203706" y="2444476"/>
          <a:ext cx="1504380" cy="162965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B4B101-3225-4967-95B5-ED5755256DE0}" type="datetimeFigureOut">
              <a:rPr lang="en-GB" smtClean="0"/>
              <a:t>14/0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B8C794-77EE-4724-B493-2E0907BFA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2318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82075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11299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142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55200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1804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950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78437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8741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5330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9737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359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884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6563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065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4020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965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449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63551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2525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E4CC28-F82D-6A47-92EB-95F6EBBE17E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C1B591-0A98-054D-9781-AADC12B6FE7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F543C-F2E0-B74B-84BA-6F0D2ACB1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69376-3A00-9945-9BA4-0DD842F82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3072BC-42EE-D846-BE67-61F1B11F1A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33D787-5E12-B243-879E-534B44F69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FA7C5A-ED49-CD44-8BD2-AB85F37B3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69A782-9FF7-2446-B5E1-3A37D2702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703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C3978-1C1C-FD4F-872E-7C8D5E12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DA6914-CC4D-454C-8BA6-5F319DFFB3B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518218-0B6C-F540-ACB7-00FF6A00DD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B3A587-7181-A34D-9DD1-7A4E8D3BBE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B9748E-C638-A34B-991B-8D12E6937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DACF19-F8E4-7748-9770-1F77E1CE7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759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1FFD5-F47F-A547-92F8-30640D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0695D1-2E66-1747-936B-9985786445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755C46-5398-4A49-9174-470B2EA06E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04D526-E28E-CA40-8F8E-123B449E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DC313-6472-4B43-A08C-560FB4516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543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EBC97E-64CD-7A4E-B80B-00F8C62EB5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8A6A8E-F3C7-464A-BA38-8A79EBE3CE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AC3332-E845-BE4F-BDDD-ACAC26D06C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686DD-5307-6E42-9CFD-F10299356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EEC2C7-889E-9B4B-9709-9D77C4F3C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338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E4CC28-F82D-6A47-92EB-95F6EBBE17E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C1B591-0A98-054D-9781-AADC12B6FE7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07DCC-9C74-774C-AB34-C1C6990FF7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F92A1B-838D-9E4D-851E-80ED279FBB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59EE-A759-5644-B85D-06065EDF5C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79B27C-5038-2541-AD4C-A65350CA4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AA195E-C674-4F4E-9DC9-DFBBBB4C7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328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3EBB3-0217-E745-9DFB-14F4A3C4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63B7FE-5447-9244-848E-1651A318E4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C6108F-F83D-4943-A259-684E68CC3A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581553-ECF7-7D43-93A2-78381765D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DFC5C-8A95-EC40-820D-0A4646B7A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694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66664-C79D-614E-B815-A38AB8F2D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8A2CC-08CF-5E47-AB7E-92B7BC7A8F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695D8A-B639-D74C-9EDD-9A33627617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F5386-1B29-6643-A58F-8736B52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D4A27-C407-5745-9F2E-0F4C08429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210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AB1DB-863C-5C4A-AD8F-A9FE443E2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49FBC-2B69-3F4C-8E55-57ADE2DC82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160DF7-709E-1444-AC50-5405725C9C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437E91-D1F0-D548-8EFB-9A5BA42B86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21ECFA-6895-E442-A879-DF8AC1518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3DB367-6300-1F45-81AB-996CCD4DE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752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2D091-F729-884C-9AA6-5DB9E311F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153888-EECA-814A-B79D-8E177D76BF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A455EF-065B-A34C-B591-E02D7D2D6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9D8EAE-3F2C-1442-BFB2-AA0238EDD1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67DEEA-B36D-864A-971B-ED3622E295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692082-32BA-9D49-A42F-FC327409D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C802C9-6CFE-EF44-93A0-BB45C21E6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04CBEE-055E-2544-8F37-2F60112FC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908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29211B-A701-374F-9F5F-D26E64DD5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F63947-82EE-F142-ACFC-5BBF21ABA9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8A8CA-06A6-8841-A0F9-6DF93EDD3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8CCB59-4628-DA4C-AAAB-40C078144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877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2A4934-C460-E447-BC40-5E46E275F9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53718D-2B83-EC4C-AB1D-2912FBA694B0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F7FF29-F501-B74D-BA92-7ADB9B379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F20210-454D-CA47-9AA9-18A018DAD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76F1092-266D-CF48-86E0-E052C94D1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353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23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72FCB0-1C89-8245-A594-5BB6D65EC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A2ABD-CC28-CB47-9D04-25B7C59BB2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2912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jquintozamora/react-typescript-webpack2-cssModules-postCSS" TargetMode="External"/><Relationship Id="rId3" Type="http://schemas.openxmlformats.org/officeDocument/2006/relationships/hyperlink" Target="https://pnp.github.io/pnpjs/" TargetMode="External"/><Relationship Id="rId7" Type="http://schemas.openxmlformats.org/officeDocument/2006/relationships/hyperlink" Target="https://github.com/SharePoint-NodeJS/pnp-auth" TargetMode="External"/><Relationship Id="rId2" Type="http://schemas.openxmlformats.org/officeDocument/2006/relationships/hyperlink" Target="https://github.com/pnp/pnpjs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chrome.google.com/webstore/detail/sp-editor/ecblfcmjnbbgaojblcpmjoamegpbodhd?hl=en" TargetMode="External"/><Relationship Id="rId5" Type="http://schemas.openxmlformats.org/officeDocument/2006/relationships/hyperlink" Target="https://github.com/AzureAD/azure-activedirectory-library-for-js" TargetMode="External"/><Relationship Id="rId4" Type="http://schemas.openxmlformats.org/officeDocument/2006/relationships/hyperlink" Target="https://github.com/koltyakov/sp-rest-proxy" TargetMode="External"/><Relationship Id="rId9" Type="http://schemas.openxmlformats.org/officeDocument/2006/relationships/hyperlink" Target="https://github.com/s-KaiNet/PnPjs-your-friend-demo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57386"/>
      </p:ext>
    </p:extLst>
  </p:cSld>
  <p:clrMapOvr>
    <a:masterClrMapping/>
  </p:clrMapOvr>
  <p:transition spd="med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B718-4A0F-48A1-8027-FF48AFBDF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err="1"/>
              <a:t>PnPJS</a:t>
            </a:r>
            <a:r>
              <a:rPr lang="en-US" sz="4000" dirty="0"/>
              <a:t> 2.0 is coming!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07F209C-76C4-4A4D-AC7D-CA1A76C31A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4373432"/>
              </p:ext>
            </p:extLst>
          </p:nvPr>
        </p:nvGraphicFramePr>
        <p:xfrm>
          <a:off x="838200" y="1690688"/>
          <a:ext cx="10363200" cy="3644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43751400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82A088C-BDC0-4056-82A9-938D46E91D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9245" y="400426"/>
            <a:ext cx="4104338" cy="49304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B352F2-5600-466C-965E-6EB660AFE5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2885" y="400426"/>
            <a:ext cx="4039872" cy="49304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627063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8785C-6255-4F3B-8BF5-F0BDDB140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030" y="323084"/>
            <a:ext cx="4889938" cy="1325563"/>
          </a:xfrm>
        </p:spPr>
        <p:txBody>
          <a:bodyPr/>
          <a:lstStyle/>
          <a:p>
            <a:r>
              <a:rPr lang="en-US" b="1" dirty="0"/>
              <a:t>SharePoint versions	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C505591-0ECA-4B6B-833F-85BFACDE27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3484976"/>
              </p:ext>
            </p:extLst>
          </p:nvPr>
        </p:nvGraphicFramePr>
        <p:xfrm>
          <a:off x="2335047" y="1648647"/>
          <a:ext cx="7521903" cy="4278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77386406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9E7E6-6401-455B-B5AB-04F13487C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Point </a:t>
            </a:r>
            <a:r>
              <a:rPr lang="en-US"/>
              <a:t>REST </a:t>
            </a:r>
            <a:r>
              <a:rPr lang="en-US" dirty="0"/>
              <a:t>API</a:t>
            </a:r>
            <a:r>
              <a:rPr lang="en-US"/>
              <a:t> in PnPjs</a:t>
            </a:r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3BD9E88-695C-42ED-AD1E-109DD9C96668}"/>
              </a:ext>
            </a:extLst>
          </p:cNvPr>
          <p:cNvSpPr/>
          <p:nvPr/>
        </p:nvSpPr>
        <p:spPr>
          <a:xfrm>
            <a:off x="838200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L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BAB1E5E-503B-4F06-99D4-249FF7E17021}"/>
              </a:ext>
            </a:extLst>
          </p:cNvPr>
          <p:cNvSpPr/>
          <p:nvPr/>
        </p:nvSpPr>
        <p:spPr>
          <a:xfrm>
            <a:off x="3131127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ttachment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B25F57-8FC1-43FA-A256-3714A2C45317}"/>
              </a:ext>
            </a:extLst>
          </p:cNvPr>
          <p:cNvSpPr/>
          <p:nvPr/>
        </p:nvSpPr>
        <p:spPr>
          <a:xfrm>
            <a:off x="5424054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-side Page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0D0AC08-CBD6-403A-9C8D-072EE7F452DB}"/>
              </a:ext>
            </a:extLst>
          </p:cNvPr>
          <p:cNvSpPr/>
          <p:nvPr/>
        </p:nvSpPr>
        <p:spPr>
          <a:xfrm>
            <a:off x="7716981" y="1898506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atur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C97F19F-CC2B-436B-BC99-AF8EEBA84CB3}"/>
              </a:ext>
            </a:extLst>
          </p:cNvPr>
          <p:cNvSpPr/>
          <p:nvPr/>
        </p:nvSpPr>
        <p:spPr>
          <a:xfrm>
            <a:off x="838199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l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6EEA81F-7D35-47B4-A3C7-062A10F1327C}"/>
              </a:ext>
            </a:extLst>
          </p:cNvPr>
          <p:cNvSpPr/>
          <p:nvPr/>
        </p:nvSpPr>
        <p:spPr>
          <a:xfrm>
            <a:off x="838198" y="3970631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arch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6C13BE-65A3-4C14-A129-F6CCBF5E9A3F}"/>
              </a:ext>
            </a:extLst>
          </p:cNvPr>
          <p:cNvSpPr/>
          <p:nvPr/>
        </p:nvSpPr>
        <p:spPr>
          <a:xfrm>
            <a:off x="838198" y="5006693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b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55ED3C5-5941-4954-987E-726732372322}"/>
              </a:ext>
            </a:extLst>
          </p:cNvPr>
          <p:cNvSpPr/>
          <p:nvPr/>
        </p:nvSpPr>
        <p:spPr>
          <a:xfrm>
            <a:off x="10009908" y="189850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eld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D86B9E3-4D3C-4469-886E-A34EFB28D9CE}"/>
              </a:ext>
            </a:extLst>
          </p:cNvPr>
          <p:cNvSpPr/>
          <p:nvPr/>
        </p:nvSpPr>
        <p:spPr>
          <a:xfrm>
            <a:off x="3131126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st item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D74D061-9312-4D2E-8309-73155A4BB859}"/>
              </a:ext>
            </a:extLst>
          </p:cNvPr>
          <p:cNvSpPr/>
          <p:nvPr/>
        </p:nvSpPr>
        <p:spPr>
          <a:xfrm>
            <a:off x="5424054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vigation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55C711C-C647-453C-96A3-6BDC8E730704}"/>
              </a:ext>
            </a:extLst>
          </p:cNvPr>
          <p:cNvSpPr/>
          <p:nvPr/>
        </p:nvSpPr>
        <p:spPr>
          <a:xfrm>
            <a:off x="7716980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mission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E31D1AA-0EAE-40C2-B9FC-15DF1A06FADF}"/>
              </a:ext>
            </a:extLst>
          </p:cNvPr>
          <p:cNvSpPr/>
          <p:nvPr/>
        </p:nvSpPr>
        <p:spPr>
          <a:xfrm>
            <a:off x="10009906" y="293456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lated Item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5D1B4EC-0043-496E-8AAF-B54B69AA09BE}"/>
              </a:ext>
            </a:extLst>
          </p:cNvPr>
          <p:cNvSpPr/>
          <p:nvPr/>
        </p:nvSpPr>
        <p:spPr>
          <a:xfrm>
            <a:off x="3131126" y="3970630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aring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794A28F-12AC-4F48-883A-39BD455D13B5}"/>
              </a:ext>
            </a:extLst>
          </p:cNvPr>
          <p:cNvSpPr/>
          <p:nvPr/>
        </p:nvSpPr>
        <p:spPr>
          <a:xfrm>
            <a:off x="5424053" y="3970630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cial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C775314-4F80-49D8-A0BA-85E34CC1697A}"/>
              </a:ext>
            </a:extLst>
          </p:cNvPr>
          <p:cNvSpPr/>
          <p:nvPr/>
        </p:nvSpPr>
        <p:spPr>
          <a:xfrm>
            <a:off x="7716979" y="397062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nant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2889A47-22DF-40DC-B54E-8726962BD5DA}"/>
              </a:ext>
            </a:extLst>
          </p:cNvPr>
          <p:cNvSpPr/>
          <p:nvPr/>
        </p:nvSpPr>
        <p:spPr>
          <a:xfrm>
            <a:off x="10009906" y="397062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ew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66B29F2-9746-4F5D-8DBA-4B5824DC64AD}"/>
              </a:ext>
            </a:extLst>
          </p:cNvPr>
          <p:cNvSpPr/>
          <p:nvPr/>
        </p:nvSpPr>
        <p:spPr>
          <a:xfrm>
            <a:off x="10009905" y="5006693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ments &amp; Like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FD479AD-A96F-4CF8-B39E-C6F7D05B8093}"/>
              </a:ext>
            </a:extLst>
          </p:cNvPr>
          <p:cNvSpPr/>
          <p:nvPr/>
        </p:nvSpPr>
        <p:spPr>
          <a:xfrm>
            <a:off x="5424051" y="5006693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axonomy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034F8ED-D9A8-4BB5-9121-DC49A8C46607}"/>
              </a:ext>
            </a:extLst>
          </p:cNvPr>
          <p:cNvSpPr/>
          <p:nvPr/>
        </p:nvSpPr>
        <p:spPr>
          <a:xfrm>
            <a:off x="3131126" y="5006693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te design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9BDFB2C-419B-4FFD-9BDF-ED2CAD781E8E}"/>
              </a:ext>
            </a:extLst>
          </p:cNvPr>
          <p:cNvSpPr/>
          <p:nvPr/>
        </p:nvSpPr>
        <p:spPr>
          <a:xfrm>
            <a:off x="7716976" y="500668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te scripts</a:t>
            </a:r>
          </a:p>
        </p:txBody>
      </p:sp>
    </p:spTree>
    <p:extLst>
      <p:ext uri="{BB962C8B-B14F-4D97-AF65-F5344CB8AC3E}">
        <p14:creationId xmlns:p14="http://schemas.microsoft.com/office/powerpoint/2010/main" val="1791337414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9E7E6-6401-455B-B5AB-04F13487C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 Graph API</a:t>
            </a:r>
            <a:r>
              <a:rPr lang="en-US"/>
              <a:t> in PnPjs</a:t>
            </a:r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3BD9E88-695C-42ED-AD1E-109DD9C96668}"/>
              </a:ext>
            </a:extLst>
          </p:cNvPr>
          <p:cNvSpPr/>
          <p:nvPr/>
        </p:nvSpPr>
        <p:spPr>
          <a:xfrm>
            <a:off x="838200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er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BAB1E5E-503B-4F06-99D4-249FF7E17021}"/>
              </a:ext>
            </a:extLst>
          </p:cNvPr>
          <p:cNvSpPr/>
          <p:nvPr/>
        </p:nvSpPr>
        <p:spPr>
          <a:xfrm>
            <a:off x="3131127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a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B25F57-8FC1-43FA-A256-3714A2C45317}"/>
              </a:ext>
            </a:extLst>
          </p:cNvPr>
          <p:cNvSpPr/>
          <p:nvPr/>
        </p:nvSpPr>
        <p:spPr>
          <a:xfrm>
            <a:off x="5424054" y="1898507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ge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0D0AC08-CBD6-403A-9C8D-072EE7F452DB}"/>
              </a:ext>
            </a:extLst>
          </p:cNvPr>
          <p:cNvSpPr/>
          <p:nvPr/>
        </p:nvSpPr>
        <p:spPr>
          <a:xfrm>
            <a:off x="7716981" y="1898506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tion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C97F19F-CC2B-436B-BC99-AF8EEBA84CB3}"/>
              </a:ext>
            </a:extLst>
          </p:cNvPr>
          <p:cNvSpPr/>
          <p:nvPr/>
        </p:nvSpPr>
        <p:spPr>
          <a:xfrm>
            <a:off x="838199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mber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6EEA81F-7D35-47B4-A3C7-062A10F1327C}"/>
              </a:ext>
            </a:extLst>
          </p:cNvPr>
          <p:cNvSpPr/>
          <p:nvPr/>
        </p:nvSpPr>
        <p:spPr>
          <a:xfrm>
            <a:off x="838198" y="3970631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versation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55ED3C5-5941-4954-987E-726732372322}"/>
              </a:ext>
            </a:extLst>
          </p:cNvPr>
          <p:cNvSpPr/>
          <p:nvPr/>
        </p:nvSpPr>
        <p:spPr>
          <a:xfrm>
            <a:off x="10009908" y="189850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tebook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D86B9E3-4D3C-4469-886E-A34EFB28D9CE}"/>
              </a:ext>
            </a:extLst>
          </p:cNvPr>
          <p:cNvSpPr/>
          <p:nvPr/>
        </p:nvSpPr>
        <p:spPr>
          <a:xfrm>
            <a:off x="3131126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roup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D74D061-9312-4D2E-8309-73155A4BB859}"/>
              </a:ext>
            </a:extLst>
          </p:cNvPr>
          <p:cNvSpPr/>
          <p:nvPr/>
        </p:nvSpPr>
        <p:spPr>
          <a:xfrm>
            <a:off x="5424054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nder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55C711C-C647-453C-96A3-6BDC8E730704}"/>
              </a:ext>
            </a:extLst>
          </p:cNvPr>
          <p:cNvSpPr/>
          <p:nvPr/>
        </p:nvSpPr>
        <p:spPr>
          <a:xfrm>
            <a:off x="7716980" y="293456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st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E31D1AA-0EAE-40C2-B9FC-15DF1A06FADF}"/>
              </a:ext>
            </a:extLst>
          </p:cNvPr>
          <p:cNvSpPr/>
          <p:nvPr/>
        </p:nvSpPr>
        <p:spPr>
          <a:xfrm>
            <a:off x="10009905" y="293456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reads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5D1B4EC-0043-496E-8AAF-B54B69AA09BE}"/>
              </a:ext>
            </a:extLst>
          </p:cNvPr>
          <p:cNvSpPr/>
          <p:nvPr/>
        </p:nvSpPr>
        <p:spPr>
          <a:xfrm>
            <a:off x="3131126" y="3970630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794A28F-12AC-4F48-883A-39BD455D13B5}"/>
              </a:ext>
            </a:extLst>
          </p:cNvPr>
          <p:cNvSpPr/>
          <p:nvPr/>
        </p:nvSpPr>
        <p:spPr>
          <a:xfrm>
            <a:off x="10009904" y="397062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lendar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C775314-4F80-49D8-A0BA-85E34CC1697A}"/>
              </a:ext>
            </a:extLst>
          </p:cNvPr>
          <p:cNvSpPr/>
          <p:nvPr/>
        </p:nvSpPr>
        <p:spPr>
          <a:xfrm>
            <a:off x="7716979" y="3970629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ttachment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94E205E-856B-4178-9F73-503797DB9700}"/>
              </a:ext>
            </a:extLst>
          </p:cNvPr>
          <p:cNvSpPr/>
          <p:nvPr/>
        </p:nvSpPr>
        <p:spPr>
          <a:xfrm>
            <a:off x="5424054" y="3970625"/>
            <a:ext cx="1901537" cy="828243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s</a:t>
            </a:r>
          </a:p>
        </p:txBody>
      </p:sp>
    </p:spTree>
    <p:extLst>
      <p:ext uri="{BB962C8B-B14F-4D97-AF65-F5344CB8AC3E}">
        <p14:creationId xmlns:p14="http://schemas.microsoft.com/office/powerpoint/2010/main" val="1172344077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0D0F13-FC49-4DE1-938A-A5663E14B805}"/>
              </a:ext>
            </a:extLst>
          </p:cNvPr>
          <p:cNvSpPr txBox="1"/>
          <p:nvPr/>
        </p:nvSpPr>
        <p:spPr>
          <a:xfrm>
            <a:off x="2090057" y="1375532"/>
            <a:ext cx="8011886" cy="39087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72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DEMO Pack	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sz="4400" b="1" dirty="0" err="1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SPFx</a:t>
            </a:r>
            <a:r>
              <a:rPr lang="en-US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 + local dev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sz="4400" b="1" dirty="0" err="1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SPFx</a:t>
            </a:r>
            <a:r>
              <a:rPr lang="en-US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 with MS Graph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Web app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Nodejs</a:t>
            </a:r>
          </a:p>
        </p:txBody>
      </p:sp>
    </p:spTree>
    <p:extLst>
      <p:ext uri="{BB962C8B-B14F-4D97-AF65-F5344CB8AC3E}">
        <p14:creationId xmlns:p14="http://schemas.microsoft.com/office/powerpoint/2010/main" val="642145726"/>
      </p:ext>
    </p:extLst>
  </p:cSld>
  <p:clrMapOvr>
    <a:masterClrMapping/>
  </p:clrMapOvr>
  <p:transition spd="med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0850A-B18C-4CC9-8C57-E2963AD84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5155" y="-28535"/>
            <a:ext cx="6161690" cy="1325563"/>
          </a:xfrm>
        </p:spPr>
        <p:txBody>
          <a:bodyPr/>
          <a:lstStyle/>
          <a:p>
            <a:r>
              <a:rPr lang="en-US" b="1" dirty="0" err="1"/>
              <a:t>PnPjs</a:t>
            </a:r>
            <a:r>
              <a:rPr lang="en-US" b="1" dirty="0"/>
              <a:t> in-browser testing</a:t>
            </a:r>
          </a:p>
        </p:txBody>
      </p:sp>
      <p:pic>
        <p:nvPicPr>
          <p:cNvPr id="1026" name="Picture 2" descr="C:\Users\kai\AppData\Local\Temp\SNAGHTML3537fd07.PNG">
            <a:extLst>
              <a:ext uri="{FF2B5EF4-FFF2-40B4-BE49-F238E27FC236}">
                <a16:creationId xmlns:a16="http://schemas.microsoft.com/office/drawing/2014/main" id="{D6FCBC00-6F00-4B5C-BDA6-D3A2A8265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41" y="1075765"/>
            <a:ext cx="11499718" cy="50513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1963178"/>
      </p:ext>
    </p:extLst>
  </p:cSld>
  <p:clrMapOvr>
    <a:masterClrMapping/>
  </p:clrMapOvr>
  <p:transition spd="med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9E7E6-6401-455B-B5AB-04F13487C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pers, utilities and advanced featur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BD83C26-1B89-4AEB-BA8E-726779D84BC7}"/>
              </a:ext>
            </a:extLst>
          </p:cNvPr>
          <p:cNvSpPr/>
          <p:nvPr/>
        </p:nvSpPr>
        <p:spPr>
          <a:xfrm>
            <a:off x="7865263" y="3705633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ibrary configura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183640C-61A5-4492-AEB8-CCDC851DD39B}"/>
              </a:ext>
            </a:extLst>
          </p:cNvPr>
          <p:cNvSpPr/>
          <p:nvPr/>
        </p:nvSpPr>
        <p:spPr>
          <a:xfrm>
            <a:off x="9233680" y="2039095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Response parser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1BA2A7F-7EDD-4CD2-B62A-0FE71ED3CF8D}"/>
              </a:ext>
            </a:extLst>
          </p:cNvPr>
          <p:cNvSpPr/>
          <p:nvPr/>
        </p:nvSpPr>
        <p:spPr>
          <a:xfrm>
            <a:off x="239928" y="2039096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Batch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A7867C7-53FD-4F3F-88F5-706A9C73EEC8}"/>
              </a:ext>
            </a:extLst>
          </p:cNvPr>
          <p:cNvSpPr/>
          <p:nvPr/>
        </p:nvSpPr>
        <p:spPr>
          <a:xfrm>
            <a:off x="3149100" y="2039096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aching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5DD3E6E-42C8-4C87-AA0C-81BF1CFF410E}"/>
              </a:ext>
            </a:extLst>
          </p:cNvPr>
          <p:cNvSpPr/>
          <p:nvPr/>
        </p:nvSpPr>
        <p:spPr>
          <a:xfrm>
            <a:off x="6306068" y="2039096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Business Objec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2E8EED1-84DB-437A-9BF1-22087404AD1D}"/>
              </a:ext>
            </a:extLst>
          </p:cNvPr>
          <p:cNvSpPr/>
          <p:nvPr/>
        </p:nvSpPr>
        <p:spPr>
          <a:xfrm>
            <a:off x="1589903" y="3716449"/>
            <a:ext cx="2736834" cy="1235529"/>
          </a:xfrm>
          <a:prstGeom prst="roundRect">
            <a:avLst/>
          </a:prstGeom>
          <a:gradFill flip="none" rotWithShape="1">
            <a:gsLst>
              <a:gs pos="0">
                <a:srgbClr val="2B658F">
                  <a:shade val="30000"/>
                  <a:satMod val="115000"/>
                </a:srgbClr>
              </a:gs>
              <a:gs pos="50000">
                <a:srgbClr val="2B658F">
                  <a:shade val="67500"/>
                  <a:satMod val="115000"/>
                </a:srgbClr>
              </a:gs>
              <a:gs pos="100000">
                <a:srgbClr val="2B658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NodeJS</a:t>
            </a:r>
          </a:p>
        </p:txBody>
      </p:sp>
    </p:spTree>
    <p:extLst>
      <p:ext uri="{BB962C8B-B14F-4D97-AF65-F5344CB8AC3E}">
        <p14:creationId xmlns:p14="http://schemas.microsoft.com/office/powerpoint/2010/main" val="1592888368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6" grpId="0" animBg="1"/>
      <p:bldP spid="17" grpId="0" animBg="1"/>
      <p:bldP spid="19" grpId="0" animBg="1"/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0D0F13-FC49-4DE1-938A-A5663E14B805}"/>
              </a:ext>
            </a:extLst>
          </p:cNvPr>
          <p:cNvSpPr txBox="1"/>
          <p:nvPr/>
        </p:nvSpPr>
        <p:spPr>
          <a:xfrm>
            <a:off x="2090057" y="1375532"/>
            <a:ext cx="8011886" cy="18774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72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DEMO</a:t>
            </a:r>
          </a:p>
          <a:p>
            <a:r>
              <a:rPr lang="en-GB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Outlook add-in with </a:t>
            </a:r>
            <a:r>
              <a:rPr lang="en-GB" sz="4400" b="1" dirty="0" err="1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PnPjs</a:t>
            </a:r>
            <a:endParaRPr lang="en-GB" sz="4400" b="1" dirty="0">
              <a:solidFill>
                <a:schemeClr val="bg1">
                  <a:lumMod val="9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614913"/>
      </p:ext>
    </p:extLst>
  </p:cSld>
  <p:clrMapOvr>
    <a:masterClrMapping/>
  </p:clrMapOvr>
  <p:transition spd="med">
    <p:pull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D2FF1-6EF6-4DF1-8F39-CD280FE2C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39047"/>
          </a:xfrm>
        </p:spPr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840A84-7DD0-41F7-A28E-58D1001C68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777767"/>
            <a:ext cx="10515600" cy="545486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>
                <a:hlinkClick r:id="rId2"/>
              </a:rPr>
              <a:t>https://github.com/pnp/pnpjs</a:t>
            </a:r>
            <a:r>
              <a:rPr lang="en-US" dirty="0"/>
              <a:t> - </a:t>
            </a:r>
            <a:r>
              <a:rPr lang="en-US" dirty="0" err="1"/>
              <a:t>PnPjs</a:t>
            </a:r>
            <a:r>
              <a:rPr lang="en-US" dirty="0"/>
              <a:t> sources</a:t>
            </a:r>
          </a:p>
          <a:p>
            <a:pPr>
              <a:lnSpc>
                <a:spcPct val="120000"/>
              </a:lnSpc>
            </a:pPr>
            <a:r>
              <a:rPr lang="en-US" dirty="0">
                <a:hlinkClick r:id="rId3"/>
              </a:rPr>
              <a:t>https://pnp.github.io/pnpjs/</a:t>
            </a:r>
            <a:r>
              <a:rPr lang="en-US" dirty="0"/>
              <a:t> - </a:t>
            </a:r>
            <a:r>
              <a:rPr lang="en-US" dirty="0" err="1"/>
              <a:t>PnPjs</a:t>
            </a:r>
            <a:r>
              <a:rPr lang="en-US" dirty="0"/>
              <a:t> Docs</a:t>
            </a:r>
          </a:p>
          <a:p>
            <a:pPr>
              <a:lnSpc>
                <a:spcPct val="120000"/>
              </a:lnSpc>
            </a:pPr>
            <a:r>
              <a:rPr lang="en-US" dirty="0">
                <a:hlinkClick r:id="rId4"/>
              </a:rPr>
              <a:t>https://github.com/koltyakov/sp-rest-proxy</a:t>
            </a:r>
            <a:r>
              <a:rPr lang="en-US" dirty="0"/>
              <a:t> - SharePoint REST API Proxy for local Front-end development tool-chains </a:t>
            </a:r>
          </a:p>
          <a:p>
            <a:pPr>
              <a:lnSpc>
                <a:spcPct val="120000"/>
              </a:lnSpc>
            </a:pPr>
            <a:r>
              <a:rPr lang="en-US" dirty="0">
                <a:hlinkClick r:id="rId5"/>
              </a:rPr>
              <a:t>https://github.com/AzureAD/azure-activedirectory-library-for-js</a:t>
            </a:r>
            <a:r>
              <a:rPr lang="en-US" dirty="0"/>
              <a:t> - Active Directory Authentication Library (ADAL) for JavaScript</a:t>
            </a:r>
          </a:p>
          <a:p>
            <a:pPr>
              <a:lnSpc>
                <a:spcPct val="120000"/>
              </a:lnSpc>
            </a:pPr>
            <a:r>
              <a:rPr lang="en-US" dirty="0">
                <a:hlinkClick r:id="rId6"/>
              </a:rPr>
              <a:t>https://chrome.google.com/webstore/detail/sp-editor/ecblfcmjnbbgaojblcpmjoamegpbodhd?hl=en</a:t>
            </a:r>
            <a:r>
              <a:rPr lang="en-US" dirty="0"/>
              <a:t> – SP Editor Chrome </a:t>
            </a:r>
            <a:r>
              <a:rPr lang="en-US" dirty="0" err="1"/>
              <a:t>addin</a:t>
            </a:r>
            <a:endParaRPr lang="en-US" dirty="0"/>
          </a:p>
          <a:p>
            <a:pPr>
              <a:lnSpc>
                <a:spcPct val="120000"/>
              </a:lnSpc>
            </a:pPr>
            <a:r>
              <a:rPr lang="en-US" dirty="0">
                <a:hlinkClick r:id="rId7"/>
              </a:rPr>
              <a:t>https://github.com/SharePoint-NodeJS/pnp-auth</a:t>
            </a:r>
            <a:r>
              <a:rPr lang="en-US" dirty="0"/>
              <a:t> - Nodejs to SharePoint auth options for </a:t>
            </a:r>
            <a:r>
              <a:rPr lang="en-US" dirty="0" err="1"/>
              <a:t>PnPjs</a:t>
            </a:r>
            <a:endParaRPr lang="en-US" dirty="0"/>
          </a:p>
          <a:p>
            <a:pPr>
              <a:lnSpc>
                <a:spcPct val="120000"/>
              </a:lnSpc>
            </a:pPr>
            <a:r>
              <a:rPr lang="en-US" dirty="0">
                <a:hlinkClick r:id="rId8"/>
              </a:rPr>
              <a:t>https://github.com/jquintozamora/react-typescript-webpack2-cssModules-postCSS</a:t>
            </a:r>
            <a:r>
              <a:rPr lang="en-US" dirty="0"/>
              <a:t> - react starter template used in web app demos</a:t>
            </a:r>
          </a:p>
          <a:p>
            <a:pPr>
              <a:lnSpc>
                <a:spcPct val="120000"/>
              </a:lnSpc>
            </a:pPr>
            <a:r>
              <a:rPr lang="en-US" dirty="0">
                <a:hlinkClick r:id="rId9"/>
              </a:rPr>
              <a:t>https://github.com/s-KaiNet/PnPjs-your-friend-demos</a:t>
            </a:r>
            <a:r>
              <a:rPr lang="en-US" dirty="0"/>
              <a:t> - sources for demos</a:t>
            </a:r>
          </a:p>
        </p:txBody>
      </p:sp>
    </p:spTree>
    <p:extLst>
      <p:ext uri="{BB962C8B-B14F-4D97-AF65-F5344CB8AC3E}">
        <p14:creationId xmlns:p14="http://schemas.microsoft.com/office/powerpoint/2010/main" val="2398119074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ymcawellington.org.nz/wp-content/uploads/2013/07/person-placehold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209" y="1338805"/>
            <a:ext cx="1744462" cy="2620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6264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3925891" y="1396314"/>
            <a:ext cx="8011886" cy="14465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4400" b="1" dirty="0" err="1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PnPjs</a:t>
            </a:r>
            <a:r>
              <a:rPr lang="en-US" sz="44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 – Your New SharePoint and Office365 Development Friend</a:t>
            </a:r>
            <a:endParaRPr lang="en-GB" sz="4400" b="1" dirty="0">
              <a:solidFill>
                <a:schemeClr val="bg1">
                  <a:lumMod val="9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25891" y="2842864"/>
            <a:ext cx="8011886" cy="61555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3400" b="1" dirty="0">
                <a:solidFill>
                  <a:srgbClr val="1ECAD3"/>
                </a:solidFill>
                <a:latin typeface="Calibri" charset="0"/>
                <a:ea typeface="Calibri" charset="0"/>
                <a:cs typeface="Calibri" charset="0"/>
              </a:rPr>
              <a:t>Sergei Sergeev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25891" y="3555242"/>
            <a:ext cx="8011886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2400" dirty="0">
                <a:solidFill>
                  <a:srgbClr val="8CB7C9"/>
                </a:solidFill>
                <a:latin typeface="Calibri" charset="0"/>
                <a:ea typeface="Calibri" charset="0"/>
                <a:cs typeface="Calibri" charset="0"/>
              </a:rPr>
              <a:t>SharePoint &amp; Office365 developer, consultant </a:t>
            </a:r>
          </a:p>
          <a:p>
            <a:r>
              <a:rPr lang="en-GB" sz="2400" dirty="0">
                <a:solidFill>
                  <a:srgbClr val="8CB7C9"/>
                </a:solidFill>
                <a:latin typeface="Calibri" charset="0"/>
                <a:ea typeface="Calibri" charset="0"/>
                <a:cs typeface="Calibri" charset="0"/>
              </a:rPr>
              <a:t>Belaru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03B8E3-3ED7-4021-9A27-D166F0A92B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55" y="1439176"/>
            <a:ext cx="1610276" cy="16424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339562-7D1E-486A-9CF5-89109666AA3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56" y="3126281"/>
            <a:ext cx="1611212" cy="6500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6699817"/>
      </p:ext>
    </p:extLst>
  </p:cSld>
  <p:clrMapOvr>
    <a:masterClrMapping/>
  </p:clrMapOvr>
  <p:transition spd="med">
    <p:pull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34865E-0E76-464B-8CB0-D5E1AF468782}"/>
              </a:ext>
            </a:extLst>
          </p:cNvPr>
          <p:cNvSpPr txBox="1"/>
          <p:nvPr/>
        </p:nvSpPr>
        <p:spPr>
          <a:xfrm>
            <a:off x="955035" y="360334"/>
            <a:ext cx="8011886" cy="20313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72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Thank you!</a:t>
            </a:r>
            <a:br>
              <a:rPr lang="en-US" sz="7200" b="1" dirty="0">
                <a:solidFill>
                  <a:schemeClr val="bg1">
                    <a:lumMod val="95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</a:br>
            <a:endParaRPr lang="en-GB" sz="5400" b="1" dirty="0">
              <a:solidFill>
                <a:schemeClr val="bg1">
                  <a:lumMod val="9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C20E6F-0384-4CE6-B80F-1F4E5827FC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0746" y="963504"/>
            <a:ext cx="4083207" cy="493099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B9D8FB60-ADA8-4E13-8F16-72E1974B9F40}"/>
              </a:ext>
            </a:extLst>
          </p:cNvPr>
          <p:cNvGrpSpPr/>
          <p:nvPr/>
        </p:nvGrpSpPr>
        <p:grpSpPr>
          <a:xfrm>
            <a:off x="104422" y="5298283"/>
            <a:ext cx="3394730" cy="707072"/>
            <a:chOff x="1329348" y="5005793"/>
            <a:chExt cx="3394730" cy="70707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BA5FC15-0F95-47D0-A547-306B4EAA9439}"/>
                </a:ext>
              </a:extLst>
            </p:cNvPr>
            <p:cNvSpPr txBox="1"/>
            <p:nvPr/>
          </p:nvSpPr>
          <p:spPr>
            <a:xfrm>
              <a:off x="2092240" y="5202187"/>
              <a:ext cx="26318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bg1"/>
                  </a:solidFill>
                </a:rPr>
                <a:t>github</a:t>
              </a:r>
              <a:r>
                <a:rPr lang="en-US" sz="2400" dirty="0">
                  <a:solidFill>
                    <a:schemeClr val="bg1"/>
                  </a:solidFill>
                </a:rPr>
                <a:t>/s-</a:t>
              </a:r>
              <a:r>
                <a:rPr lang="en-US" sz="2400" dirty="0" err="1">
                  <a:solidFill>
                    <a:schemeClr val="bg1"/>
                  </a:solidFill>
                </a:rPr>
                <a:t>KaiNet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2AE7A22-6671-4F4F-A77A-4A5EA8EEB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9348" y="5005793"/>
              <a:ext cx="850613" cy="707072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D84EF01-C747-4CB8-8178-2EA1F5FA03CB}"/>
              </a:ext>
            </a:extLst>
          </p:cNvPr>
          <p:cNvGrpSpPr/>
          <p:nvPr/>
        </p:nvGrpSpPr>
        <p:grpSpPr>
          <a:xfrm>
            <a:off x="3705086" y="4493709"/>
            <a:ext cx="2731432" cy="743540"/>
            <a:chOff x="1382884" y="5712865"/>
            <a:chExt cx="2731432" cy="74354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2D8E527-C776-4318-8950-EF4573DE3B11}"/>
                </a:ext>
              </a:extLst>
            </p:cNvPr>
            <p:cNvSpPr txBox="1"/>
            <p:nvPr/>
          </p:nvSpPr>
          <p:spPr>
            <a:xfrm>
              <a:off x="2091928" y="5878987"/>
              <a:ext cx="20223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@</a:t>
              </a:r>
              <a:r>
                <a:rPr lang="en-US" sz="2400" dirty="0" err="1">
                  <a:solidFill>
                    <a:schemeClr val="bg1"/>
                  </a:solidFill>
                </a:rPr>
                <a:t>sergeev_srg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283B308-61ED-4E44-9A7F-B3A608CC0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884" y="5712865"/>
              <a:ext cx="743540" cy="74354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8CA61DE-5A4E-49AF-B8C5-793BF50CDF5A}"/>
              </a:ext>
            </a:extLst>
          </p:cNvPr>
          <p:cNvGrpSpPr/>
          <p:nvPr/>
        </p:nvGrpSpPr>
        <p:grpSpPr>
          <a:xfrm>
            <a:off x="3640052" y="5223050"/>
            <a:ext cx="3131870" cy="894947"/>
            <a:chOff x="1207817" y="5185959"/>
            <a:chExt cx="3131870" cy="89494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ADB9D59-986A-499B-BF26-4CFDC9A29E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817" y="5185959"/>
              <a:ext cx="894947" cy="894947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3A3A726-8F49-42F5-8449-EFD64492BE04}"/>
                </a:ext>
              </a:extLst>
            </p:cNvPr>
            <p:cNvSpPr txBox="1"/>
            <p:nvPr/>
          </p:nvSpPr>
          <p:spPr>
            <a:xfrm>
              <a:off x="1983121" y="5485400"/>
              <a:ext cx="23565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in/</a:t>
              </a:r>
              <a:r>
                <a:rPr lang="en-US" sz="2400" dirty="0" err="1">
                  <a:solidFill>
                    <a:schemeClr val="bg1"/>
                  </a:solidFill>
                </a:rPr>
                <a:t>sergeisergeev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FFED2C8-D75B-4E68-A791-AEBC7A123992}"/>
              </a:ext>
            </a:extLst>
          </p:cNvPr>
          <p:cNvGrpSpPr/>
          <p:nvPr/>
        </p:nvGrpSpPr>
        <p:grpSpPr>
          <a:xfrm>
            <a:off x="211496" y="4597446"/>
            <a:ext cx="3287656" cy="602640"/>
            <a:chOff x="1309811" y="2856046"/>
            <a:chExt cx="3287656" cy="60264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FEA1F38-0830-4B5E-8BD3-F7B238F9F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9811" y="2856046"/>
              <a:ext cx="602640" cy="60264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D934DF9-E617-4C21-A3D8-6930C4BC42FA}"/>
                </a:ext>
              </a:extLst>
            </p:cNvPr>
            <p:cNvSpPr txBox="1"/>
            <p:nvPr/>
          </p:nvSpPr>
          <p:spPr>
            <a:xfrm>
              <a:off x="1999182" y="2939413"/>
              <a:ext cx="2598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http://spblog.ne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2E5ADB3-89E9-4688-B88F-66D0BD5AC203}"/>
              </a:ext>
            </a:extLst>
          </p:cNvPr>
          <p:cNvGrpSpPr/>
          <p:nvPr/>
        </p:nvGrpSpPr>
        <p:grpSpPr>
          <a:xfrm>
            <a:off x="180682" y="3752638"/>
            <a:ext cx="3419283" cy="461665"/>
            <a:chOff x="7879340" y="4746955"/>
            <a:chExt cx="3419283" cy="46166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F1CBA1E-C1C4-49E3-B820-8A8301133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9340" y="4769186"/>
              <a:ext cx="502490" cy="38189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8D6E326-59AE-4916-B5C9-193352587FB9}"/>
                </a:ext>
              </a:extLst>
            </p:cNvPr>
            <p:cNvSpPr txBox="1"/>
            <p:nvPr/>
          </p:nvSpPr>
          <p:spPr>
            <a:xfrm>
              <a:off x="8536624" y="4746955"/>
              <a:ext cx="276199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https://mastaq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6688017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92ECF278-DD72-4A54-AEEB-BFDA48A37CD0}"/>
              </a:ext>
            </a:extLst>
          </p:cNvPr>
          <p:cNvSpPr txBox="1">
            <a:spLocks/>
          </p:cNvSpPr>
          <p:nvPr/>
        </p:nvSpPr>
        <p:spPr>
          <a:xfrm>
            <a:off x="838200" y="351692"/>
            <a:ext cx="10515600" cy="856677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About me</a:t>
            </a:r>
          </a:p>
        </p:txBody>
      </p:sp>
      <p:pic>
        <p:nvPicPr>
          <p:cNvPr id="39" name="Content Placeholder 4">
            <a:extLst>
              <a:ext uri="{FF2B5EF4-FFF2-40B4-BE49-F238E27FC236}">
                <a16:creationId xmlns:a16="http://schemas.microsoft.com/office/drawing/2014/main" id="{82B20200-FED8-4308-BC26-F36E0CE215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046" y="0"/>
            <a:ext cx="4867954" cy="3629532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9B2AFD1D-9774-4422-AB29-C41054A699E1}"/>
              </a:ext>
            </a:extLst>
          </p:cNvPr>
          <p:cNvSpPr txBox="1"/>
          <p:nvPr/>
        </p:nvSpPr>
        <p:spPr>
          <a:xfrm>
            <a:off x="838200" y="1142251"/>
            <a:ext cx="640666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2A648E"/>
              </a:buClr>
              <a:buFont typeface="Arial" panose="020B0604020202020204" pitchFamily="34" charset="0"/>
              <a:buChar char="•"/>
            </a:pPr>
            <a:r>
              <a:rPr lang="en-US" sz="3000" dirty="0"/>
              <a:t>9+ years with SharePoint</a:t>
            </a:r>
          </a:p>
          <a:p>
            <a:pPr marL="285750" indent="-285750">
              <a:buClr>
                <a:srgbClr val="2A648E"/>
              </a:buClr>
              <a:buFont typeface="Arial" panose="020B0604020202020204" pitchFamily="34" charset="0"/>
              <a:buChar char="•"/>
            </a:pPr>
            <a:r>
              <a:rPr lang="en-US" sz="3000" dirty="0"/>
              <a:t>Microsoft MVP (2017 - current)</a:t>
            </a:r>
          </a:p>
          <a:p>
            <a:pPr marL="285750" indent="-285750">
              <a:buClr>
                <a:srgbClr val="2A648E"/>
              </a:buClr>
              <a:buFont typeface="Arial" panose="020B0604020202020204" pitchFamily="34" charset="0"/>
              <a:buChar char="•"/>
            </a:pPr>
            <a:r>
              <a:rPr lang="en-US" sz="3000" dirty="0"/>
              <a:t>Open source contributor </a:t>
            </a:r>
          </a:p>
          <a:p>
            <a:pPr marL="285750" indent="-285750">
              <a:buClr>
                <a:srgbClr val="2A648E"/>
              </a:buClr>
              <a:buFont typeface="Arial" panose="020B0604020202020204" pitchFamily="34" charset="0"/>
              <a:buChar char="•"/>
            </a:pPr>
            <a:r>
              <a:rPr lang="en-US" sz="3000" dirty="0"/>
              <a:t>Local Belarus SPUG speaker</a:t>
            </a:r>
          </a:p>
          <a:p>
            <a:pPr marL="285750" indent="-285750">
              <a:buClr>
                <a:srgbClr val="2A648E"/>
              </a:buClr>
              <a:buFont typeface="Arial" panose="020B0604020202020204" pitchFamily="34" charset="0"/>
              <a:buChar char="•"/>
            </a:pPr>
            <a:r>
              <a:rPr lang="en-US" sz="3000" dirty="0"/>
              <a:t>Developer and owner at </a:t>
            </a:r>
            <a:r>
              <a:rPr lang="en-US" sz="3000" dirty="0" err="1"/>
              <a:t>mastaq</a:t>
            </a:r>
            <a:r>
              <a:rPr lang="en-US" sz="3000" dirty="0"/>
              <a:t>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FB6F46A-9C7D-4B0F-8A43-77EEDB65C41F}"/>
              </a:ext>
            </a:extLst>
          </p:cNvPr>
          <p:cNvGrpSpPr/>
          <p:nvPr/>
        </p:nvGrpSpPr>
        <p:grpSpPr>
          <a:xfrm>
            <a:off x="838200" y="5377305"/>
            <a:ext cx="3394730" cy="707072"/>
            <a:chOff x="1329348" y="5005793"/>
            <a:chExt cx="3394730" cy="70707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BA5729B-B7CD-4BDA-9B20-B12B411191F3}"/>
                </a:ext>
              </a:extLst>
            </p:cNvPr>
            <p:cNvSpPr txBox="1"/>
            <p:nvPr/>
          </p:nvSpPr>
          <p:spPr>
            <a:xfrm>
              <a:off x="2092240" y="5202187"/>
              <a:ext cx="26318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/>
                <a:t>github</a:t>
              </a:r>
              <a:r>
                <a:rPr lang="en-US" sz="2400" dirty="0"/>
                <a:t>/s-</a:t>
              </a:r>
              <a:r>
                <a:rPr lang="en-US" sz="2400" dirty="0" err="1"/>
                <a:t>KaiNet</a:t>
              </a:r>
              <a:endParaRPr lang="en-US" sz="2400" dirty="0"/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10B6B672-8E4F-452D-8C03-CAF572466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9348" y="5005793"/>
              <a:ext cx="850613" cy="707072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CC36CE3-8BB6-4053-97CA-8B54F68EEF73}"/>
              </a:ext>
            </a:extLst>
          </p:cNvPr>
          <p:cNvGrpSpPr/>
          <p:nvPr/>
        </p:nvGrpSpPr>
        <p:grpSpPr>
          <a:xfrm>
            <a:off x="4438864" y="4572731"/>
            <a:ext cx="2731432" cy="743540"/>
            <a:chOff x="1382884" y="5712865"/>
            <a:chExt cx="2731432" cy="743540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5FC24EC-E5F0-4475-B55F-03A5332628DA}"/>
                </a:ext>
              </a:extLst>
            </p:cNvPr>
            <p:cNvSpPr txBox="1"/>
            <p:nvPr/>
          </p:nvSpPr>
          <p:spPr>
            <a:xfrm>
              <a:off x="2091928" y="5878987"/>
              <a:ext cx="20223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@</a:t>
              </a:r>
              <a:r>
                <a:rPr lang="en-US" sz="2400" dirty="0" err="1"/>
                <a:t>sergeev_srg</a:t>
              </a:r>
              <a:endParaRPr lang="en-US" sz="2400" dirty="0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C46279A-7B05-4E15-8D75-2C8320CA6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884" y="5712865"/>
              <a:ext cx="743540" cy="74354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1016D8E-E062-4978-A541-B7F70395CF32}"/>
              </a:ext>
            </a:extLst>
          </p:cNvPr>
          <p:cNvGrpSpPr/>
          <p:nvPr/>
        </p:nvGrpSpPr>
        <p:grpSpPr>
          <a:xfrm>
            <a:off x="4373830" y="5302072"/>
            <a:ext cx="3131870" cy="894947"/>
            <a:chOff x="1207817" y="5185959"/>
            <a:chExt cx="3131870" cy="894947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41A5DCCD-68D4-43F8-84CB-20373BFDF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817" y="5185959"/>
              <a:ext cx="894947" cy="894947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93EF17A-0114-4145-9835-3830C67D8C3B}"/>
                </a:ext>
              </a:extLst>
            </p:cNvPr>
            <p:cNvSpPr txBox="1"/>
            <p:nvPr/>
          </p:nvSpPr>
          <p:spPr>
            <a:xfrm>
              <a:off x="1983121" y="5485400"/>
              <a:ext cx="23565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in/</a:t>
              </a:r>
              <a:r>
                <a:rPr lang="en-US" sz="2400" dirty="0" err="1"/>
                <a:t>sergeisergeev</a:t>
              </a:r>
              <a:endParaRPr lang="en-US" sz="2400" dirty="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30469D0-F76C-4332-90F9-5CC6D8A6358C}"/>
              </a:ext>
            </a:extLst>
          </p:cNvPr>
          <p:cNvGrpSpPr/>
          <p:nvPr/>
        </p:nvGrpSpPr>
        <p:grpSpPr>
          <a:xfrm>
            <a:off x="945274" y="4676468"/>
            <a:ext cx="3287656" cy="602640"/>
            <a:chOff x="1309811" y="2856046"/>
            <a:chExt cx="3287656" cy="60264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23883AA6-E98F-40FB-B0D6-6D9870BE5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9811" y="2856046"/>
              <a:ext cx="602640" cy="60264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5605041-725A-4F00-861B-680F01642140}"/>
                </a:ext>
              </a:extLst>
            </p:cNvPr>
            <p:cNvSpPr txBox="1"/>
            <p:nvPr/>
          </p:nvSpPr>
          <p:spPr>
            <a:xfrm>
              <a:off x="1999182" y="2939413"/>
              <a:ext cx="2598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http://spblog.net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03CB7CC5-F1F4-4C4D-87A3-C082D41764E1}"/>
              </a:ext>
            </a:extLst>
          </p:cNvPr>
          <p:cNvSpPr txBox="1"/>
          <p:nvPr/>
        </p:nvSpPr>
        <p:spPr>
          <a:xfrm>
            <a:off x="934764" y="3913351"/>
            <a:ext cx="45792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Online identiti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B9C0DAC-16FA-41A9-98D8-D4B729D5CBD6}"/>
              </a:ext>
            </a:extLst>
          </p:cNvPr>
          <p:cNvGrpSpPr/>
          <p:nvPr/>
        </p:nvGrpSpPr>
        <p:grpSpPr>
          <a:xfrm>
            <a:off x="7879340" y="4746955"/>
            <a:ext cx="3492853" cy="461665"/>
            <a:chOff x="7879340" y="4746955"/>
            <a:chExt cx="3492853" cy="46166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1545105-ED92-4D83-9153-445E92456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9340" y="4748166"/>
              <a:ext cx="602508" cy="457906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97DB2C9-CF2E-4F15-9F43-2E41EF3856DD}"/>
                </a:ext>
              </a:extLst>
            </p:cNvPr>
            <p:cNvSpPr txBox="1"/>
            <p:nvPr/>
          </p:nvSpPr>
          <p:spPr>
            <a:xfrm>
              <a:off x="8610194" y="4746955"/>
              <a:ext cx="276199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https://mastaq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18935616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Rocket">
            <a:extLst>
              <a:ext uri="{FF2B5EF4-FFF2-40B4-BE49-F238E27FC236}">
                <a16:creationId xmlns:a16="http://schemas.microsoft.com/office/drawing/2014/main" id="{F7509E54-BC0F-4704-BD43-828F9ED20B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426" y="1131135"/>
            <a:ext cx="3103790" cy="6147542"/>
          </a:xfrm>
          <a:prstGeom prst="rect">
            <a:avLst/>
          </a:prstGeom>
        </p:spPr>
      </p:pic>
      <p:grpSp>
        <p:nvGrpSpPr>
          <p:cNvPr id="44" name="Stars">
            <a:extLst>
              <a:ext uri="{FF2B5EF4-FFF2-40B4-BE49-F238E27FC236}">
                <a16:creationId xmlns:a16="http://schemas.microsoft.com/office/drawing/2014/main" id="{9936305F-F4B4-40E6-AD70-D3E6D87EF3C8}"/>
              </a:ext>
            </a:extLst>
          </p:cNvPr>
          <p:cNvGrpSpPr/>
          <p:nvPr/>
        </p:nvGrpSpPr>
        <p:grpSpPr>
          <a:xfrm>
            <a:off x="2032879" y="119485"/>
            <a:ext cx="8887123" cy="3728858"/>
            <a:chOff x="2032879" y="119485"/>
            <a:chExt cx="8887123" cy="372885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D9D97B5D-D37C-464E-8077-D3708ADF1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2879" y="119485"/>
              <a:ext cx="2881926" cy="2881926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39EDF63E-7201-4B57-9DB1-83943372B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32590" y="1360931"/>
              <a:ext cx="2487412" cy="2487412"/>
            </a:xfrm>
            <a:prstGeom prst="rect">
              <a:avLst/>
            </a:prstGeom>
          </p:spPr>
        </p:pic>
      </p:grpSp>
      <p:grpSp>
        <p:nvGrpSpPr>
          <p:cNvPr id="30" name="Clouds">
            <a:extLst>
              <a:ext uri="{FF2B5EF4-FFF2-40B4-BE49-F238E27FC236}">
                <a16:creationId xmlns:a16="http://schemas.microsoft.com/office/drawing/2014/main" id="{D6122194-4887-41D5-8FC5-D1529B2D39D0}"/>
              </a:ext>
            </a:extLst>
          </p:cNvPr>
          <p:cNvGrpSpPr/>
          <p:nvPr/>
        </p:nvGrpSpPr>
        <p:grpSpPr>
          <a:xfrm>
            <a:off x="2209007" y="-178536"/>
            <a:ext cx="9478675" cy="5418646"/>
            <a:chOff x="2209007" y="-178536"/>
            <a:chExt cx="9478675" cy="5418646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D7DA820-CB04-49C8-BC31-892BE052D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9589" y="-178536"/>
              <a:ext cx="2529735" cy="2529735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38CAE9B-2E04-4525-A12F-36C359A0D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8303" y="1830731"/>
              <a:ext cx="3409379" cy="3409379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B26FCEF-D84A-485C-B96D-7DF426E4B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007" y="3650064"/>
              <a:ext cx="1264836" cy="1264836"/>
            </a:xfrm>
            <a:prstGeom prst="rect">
              <a:avLst/>
            </a:prstGeom>
          </p:spPr>
        </p:pic>
      </p:grpSp>
      <p:pic>
        <p:nvPicPr>
          <p:cNvPr id="16" name="Grass">
            <a:extLst>
              <a:ext uri="{FF2B5EF4-FFF2-40B4-BE49-F238E27FC236}">
                <a16:creationId xmlns:a16="http://schemas.microsoft.com/office/drawing/2014/main" id="{2D9E152B-52C2-4447-8C40-C9A3AE4E3A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034" y="4763975"/>
            <a:ext cx="8125959" cy="1590897"/>
          </a:xfrm>
          <a:prstGeom prst="rect">
            <a:avLst/>
          </a:prstGeom>
        </p:spPr>
      </p:pic>
      <p:pic>
        <p:nvPicPr>
          <p:cNvPr id="29" name="Sun">
            <a:extLst>
              <a:ext uri="{FF2B5EF4-FFF2-40B4-BE49-F238E27FC236}">
                <a16:creationId xmlns:a16="http://schemas.microsoft.com/office/drawing/2014/main" id="{44FFE540-7351-4FF6-9945-8CBB3F0AC9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9617" y="203511"/>
            <a:ext cx="1765639" cy="1765639"/>
          </a:xfrm>
          <a:prstGeom prst="rect">
            <a:avLst/>
          </a:prstGeom>
        </p:spPr>
      </p:pic>
      <p:sp>
        <p:nvSpPr>
          <p:cNvPr id="45" name="1">
            <a:extLst>
              <a:ext uri="{FF2B5EF4-FFF2-40B4-BE49-F238E27FC236}">
                <a16:creationId xmlns:a16="http://schemas.microsoft.com/office/drawing/2014/main" id="{848130CB-3DD5-4C9D-8A72-28857E98F670}"/>
              </a:ext>
            </a:extLst>
          </p:cNvPr>
          <p:cNvSpPr/>
          <p:nvPr/>
        </p:nvSpPr>
        <p:spPr>
          <a:xfrm>
            <a:off x="1233787" y="3819875"/>
            <a:ext cx="376613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1. Evolution of SharePoint data access methods</a:t>
            </a:r>
          </a:p>
        </p:txBody>
      </p:sp>
      <p:sp>
        <p:nvSpPr>
          <p:cNvPr id="46" name="2">
            <a:extLst>
              <a:ext uri="{FF2B5EF4-FFF2-40B4-BE49-F238E27FC236}">
                <a16:creationId xmlns:a16="http://schemas.microsoft.com/office/drawing/2014/main" id="{8DF54575-2290-42DE-97C2-D9BE08894A64}"/>
              </a:ext>
            </a:extLst>
          </p:cNvPr>
          <p:cNvSpPr/>
          <p:nvPr/>
        </p:nvSpPr>
        <p:spPr>
          <a:xfrm>
            <a:off x="7984006" y="802234"/>
            <a:ext cx="34093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2. Why REST API?</a:t>
            </a:r>
          </a:p>
        </p:txBody>
      </p:sp>
      <p:sp>
        <p:nvSpPr>
          <p:cNvPr id="48" name="3">
            <a:extLst>
              <a:ext uri="{FF2B5EF4-FFF2-40B4-BE49-F238E27FC236}">
                <a16:creationId xmlns:a16="http://schemas.microsoft.com/office/drawing/2014/main" id="{5561E0FD-4B79-43C2-AC03-D2E46D84938A}"/>
              </a:ext>
            </a:extLst>
          </p:cNvPr>
          <p:cNvSpPr/>
          <p:nvPr/>
        </p:nvSpPr>
        <p:spPr>
          <a:xfrm>
            <a:off x="1599844" y="5374202"/>
            <a:ext cx="36959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3. Welcome </a:t>
            </a:r>
            <a:r>
              <a:rPr lang="en-GB" sz="2400" dirty="0" err="1">
                <a:latin typeface="Elephant" panose="02020904090505020303" pitchFamily="18" charset="0"/>
                <a:ea typeface="Calibri Light" charset="0"/>
                <a:cs typeface="Calibri Light" charset="0"/>
              </a:rPr>
              <a:t>PnPJS</a:t>
            </a:r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!</a:t>
            </a:r>
          </a:p>
        </p:txBody>
      </p:sp>
      <p:sp>
        <p:nvSpPr>
          <p:cNvPr id="49" name="4">
            <a:extLst>
              <a:ext uri="{FF2B5EF4-FFF2-40B4-BE49-F238E27FC236}">
                <a16:creationId xmlns:a16="http://schemas.microsoft.com/office/drawing/2014/main" id="{7B1B5FA3-434E-4089-98D3-A2FEC3894D49}"/>
              </a:ext>
            </a:extLst>
          </p:cNvPr>
          <p:cNvSpPr/>
          <p:nvPr/>
        </p:nvSpPr>
        <p:spPr>
          <a:xfrm>
            <a:off x="8515224" y="1022133"/>
            <a:ext cx="29721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4. DEMO Pack</a:t>
            </a:r>
            <a:endParaRPr lang="en-US" sz="2800" dirty="0">
              <a:latin typeface="Elephant" panose="02020904090505020303" pitchFamily="18" charset="0"/>
            </a:endParaRPr>
          </a:p>
        </p:txBody>
      </p:sp>
      <p:sp>
        <p:nvSpPr>
          <p:cNvPr id="51" name="5">
            <a:extLst>
              <a:ext uri="{FF2B5EF4-FFF2-40B4-BE49-F238E27FC236}">
                <a16:creationId xmlns:a16="http://schemas.microsoft.com/office/drawing/2014/main" id="{FE0C068C-C53E-41D6-AD66-0768F780586E}"/>
              </a:ext>
            </a:extLst>
          </p:cNvPr>
          <p:cNvSpPr/>
          <p:nvPr/>
        </p:nvSpPr>
        <p:spPr>
          <a:xfrm>
            <a:off x="1180513" y="5138316"/>
            <a:ext cx="443140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5. PnP</a:t>
            </a:r>
            <a:r>
              <a:rPr lang="en-US" sz="2400" dirty="0" err="1">
                <a:latin typeface="Elephant" panose="02020904090505020303" pitchFamily="18" charset="0"/>
                <a:ea typeface="Calibri Light" charset="0"/>
                <a:cs typeface="Calibri Light" charset="0"/>
              </a:rPr>
              <a:t>js</a:t>
            </a:r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 advanced topics</a:t>
            </a:r>
          </a:p>
        </p:txBody>
      </p:sp>
      <p:sp>
        <p:nvSpPr>
          <p:cNvPr id="52" name="6">
            <a:extLst>
              <a:ext uri="{FF2B5EF4-FFF2-40B4-BE49-F238E27FC236}">
                <a16:creationId xmlns:a16="http://schemas.microsoft.com/office/drawing/2014/main" id="{EEF93C93-11C9-4BCB-B2ED-FB0AC334BAE3}"/>
              </a:ext>
            </a:extLst>
          </p:cNvPr>
          <p:cNvSpPr/>
          <p:nvPr/>
        </p:nvSpPr>
        <p:spPr>
          <a:xfrm>
            <a:off x="8243312" y="2221410"/>
            <a:ext cx="27971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lvl="2"/>
            <a:r>
              <a:rPr lang="en-GB" sz="24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6. DEMO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7375ED2-1D23-4102-AC8F-7299778E0EC7}"/>
              </a:ext>
            </a:extLst>
          </p:cNvPr>
          <p:cNvSpPr/>
          <p:nvPr/>
        </p:nvSpPr>
        <p:spPr>
          <a:xfrm>
            <a:off x="112659" y="119485"/>
            <a:ext cx="24817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dirty="0">
                <a:latin typeface="Elephant" panose="02020904090505020303" pitchFamily="18" charset="0"/>
                <a:ea typeface="Calibri Light" charset="0"/>
                <a:cs typeface="Calibri Light" charset="0"/>
              </a:rPr>
              <a:t>Our journey!</a:t>
            </a:r>
            <a:endParaRPr lang="en-US" sz="2800" dirty="0">
              <a:latin typeface="Elephant" panose="02020904090505020303" pitchFamily="18" charset="0"/>
            </a:endParaRPr>
          </a:p>
        </p:txBody>
      </p:sp>
      <p:grpSp>
        <p:nvGrpSpPr>
          <p:cNvPr id="36" name="Clouds2">
            <a:extLst>
              <a:ext uri="{FF2B5EF4-FFF2-40B4-BE49-F238E27FC236}">
                <a16:creationId xmlns:a16="http://schemas.microsoft.com/office/drawing/2014/main" id="{E60D0056-EE56-4AB9-BD3C-78AF7E35CAD2}"/>
              </a:ext>
            </a:extLst>
          </p:cNvPr>
          <p:cNvGrpSpPr/>
          <p:nvPr/>
        </p:nvGrpSpPr>
        <p:grpSpPr>
          <a:xfrm>
            <a:off x="972127" y="-9045"/>
            <a:ext cx="11022186" cy="4799900"/>
            <a:chOff x="972127" y="-9045"/>
            <a:chExt cx="11022186" cy="479990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91ADC47D-79A8-4C86-BAE4-1AF4269A2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6125" y="-9045"/>
              <a:ext cx="1255435" cy="1255435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23C4E624-8F61-4FA4-B8A5-E6CED0DF7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127" y="3324003"/>
              <a:ext cx="1255435" cy="1255435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CEE90AE7-9D6C-414F-93DF-0EC494421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194" y="3535420"/>
              <a:ext cx="1255435" cy="125543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DC86DAA-3237-43B6-A3A9-4EF673C72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38878" y="52598"/>
              <a:ext cx="1255435" cy="1255435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75AA8B0-06C2-450B-B925-16A0BFAB38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79" y="6334356"/>
            <a:ext cx="12192000" cy="522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711270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44444E-6 L 1.45833E-6 -0.15532 " pathEditMode="relative" rAng="0" ptsTypes="AA">
                                      <p:cBhvr>
                                        <p:cTn id="3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778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1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5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0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4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8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2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5" grpId="1"/>
      <p:bldP spid="46" grpId="0"/>
      <p:bldP spid="46" grpId="1"/>
      <p:bldP spid="48" grpId="0"/>
      <p:bldP spid="48" grpId="1"/>
      <p:bldP spid="49" grpId="0"/>
      <p:bldP spid="49" grpId="1"/>
      <p:bldP spid="51" grpId="0"/>
      <p:bldP spid="51" grpId="1"/>
      <p:bldP spid="52" grpId="0"/>
      <p:bldP spid="52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C4B27F-C4BF-FC47-9D32-41D1D85773B6}"/>
              </a:ext>
            </a:extLst>
          </p:cNvPr>
          <p:cNvSpPr txBox="1"/>
          <p:nvPr/>
        </p:nvSpPr>
        <p:spPr>
          <a:xfrm>
            <a:off x="939174" y="713955"/>
            <a:ext cx="850962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3600" dirty="0">
                <a:latin typeface="Calibri" charset="0"/>
                <a:ea typeface="Calibri" charset="0"/>
                <a:cs typeface="Calibri" charset="0"/>
              </a:rPr>
              <a:t>Agenda</a:t>
            </a:r>
            <a:endParaRPr lang="en-GB" sz="36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70DC4B-895E-FA44-8A0D-ADF658D81B82}"/>
              </a:ext>
            </a:extLst>
          </p:cNvPr>
          <p:cNvSpPr txBox="1"/>
          <p:nvPr/>
        </p:nvSpPr>
        <p:spPr>
          <a:xfrm>
            <a:off x="939174" y="1581004"/>
            <a:ext cx="10117709" cy="34163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914400" lvl="1" indent="-457200">
              <a:buFont typeface="+mj-lt"/>
              <a:buAutoNum type="arabicPeriod"/>
            </a:pP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Evolution of SharePoint data access method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Why REST API?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Welcome </a:t>
            </a:r>
            <a:r>
              <a:rPr lang="en-GB" sz="3600" dirty="0" err="1">
                <a:latin typeface="Calibri Light" charset="0"/>
                <a:ea typeface="Calibri Light" charset="0"/>
                <a:cs typeface="Calibri Light" charset="0"/>
              </a:rPr>
              <a:t>PnPjs</a:t>
            </a: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!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DEMO Pack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3600" dirty="0" err="1">
                <a:latin typeface="Calibri Light" charset="0"/>
                <a:ea typeface="Calibri Light" charset="0"/>
                <a:cs typeface="Calibri Light" charset="0"/>
              </a:rPr>
              <a:t>PnPjs</a:t>
            </a: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 advanced topic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3600" dirty="0">
                <a:latin typeface="Calibri Light" charset="0"/>
                <a:ea typeface="Calibri Light" charset="0"/>
                <a:cs typeface="Calibri Light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81937761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5303C-43BC-472D-9928-76E0F3E4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 Light" charset="0"/>
                <a:ea typeface="Calibri Light" charset="0"/>
                <a:cs typeface="Calibri Light" charset="0"/>
              </a:rPr>
              <a:t>Evolution of SharePoint data access methods</a:t>
            </a:r>
            <a:endParaRPr lang="en-US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C3A0713-C82D-4180-8424-1ACE9116E1A7}"/>
              </a:ext>
            </a:extLst>
          </p:cNvPr>
          <p:cNvSpPr/>
          <p:nvPr/>
        </p:nvSpPr>
        <p:spPr>
          <a:xfrm>
            <a:off x="479181" y="3701562"/>
            <a:ext cx="11232756" cy="263769"/>
          </a:xfrm>
          <a:prstGeom prst="rightArrow">
            <a:avLst/>
          </a:prstGeom>
          <a:solidFill>
            <a:srgbClr val="2A648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EAA6903-D658-47A2-A232-C9A8192AA1D8}"/>
              </a:ext>
            </a:extLst>
          </p:cNvPr>
          <p:cNvGrpSpPr/>
          <p:nvPr/>
        </p:nvGrpSpPr>
        <p:grpSpPr>
          <a:xfrm>
            <a:off x="634192" y="1969884"/>
            <a:ext cx="3290096" cy="1821066"/>
            <a:chOff x="634192" y="1969884"/>
            <a:chExt cx="3290096" cy="182106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08A91DB-3D3C-4E53-9F91-AA4FBAA125D5}"/>
                </a:ext>
              </a:extLst>
            </p:cNvPr>
            <p:cNvGrpSpPr/>
            <p:nvPr/>
          </p:nvGrpSpPr>
          <p:grpSpPr>
            <a:xfrm>
              <a:off x="634192" y="1969884"/>
              <a:ext cx="381340" cy="1821066"/>
              <a:chOff x="1053292" y="1969884"/>
              <a:chExt cx="381340" cy="1821066"/>
            </a:xfrm>
          </p:grpSpPr>
          <p:sp>
            <p:nvSpPr>
              <p:cNvPr id="10" name="Location2">
                <a:extLst>
                  <a:ext uri="{FF2B5EF4-FFF2-40B4-BE49-F238E27FC236}">
                    <a16:creationId xmlns:a16="http://schemas.microsoft.com/office/drawing/2014/main" id="{3B4F27EB-17EB-49A6-989D-5E786D8391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053292" y="1969884"/>
                <a:ext cx="381340" cy="542925"/>
              </a:xfrm>
              <a:custGeom>
                <a:avLst/>
                <a:gdLst>
                  <a:gd name="T0" fmla="*/ 261 w 522"/>
                  <a:gd name="T1" fmla="*/ 0 h 741"/>
                  <a:gd name="T2" fmla="*/ 0 w 522"/>
                  <a:gd name="T3" fmla="*/ 261 h 741"/>
                  <a:gd name="T4" fmla="*/ 261 w 522"/>
                  <a:gd name="T5" fmla="*/ 740 h 741"/>
                  <a:gd name="T6" fmla="*/ 521 w 522"/>
                  <a:gd name="T7" fmla="*/ 261 h 741"/>
                  <a:gd name="T8" fmla="*/ 261 w 522"/>
                  <a:gd name="T9" fmla="*/ 0 h 741"/>
                  <a:gd name="T10" fmla="*/ 261 w 522"/>
                  <a:gd name="T11" fmla="*/ 353 h 741"/>
                  <a:gd name="T12" fmla="*/ 169 w 522"/>
                  <a:gd name="T13" fmla="*/ 261 h 741"/>
                  <a:gd name="T14" fmla="*/ 261 w 522"/>
                  <a:gd name="T15" fmla="*/ 170 h 741"/>
                  <a:gd name="T16" fmla="*/ 352 w 522"/>
                  <a:gd name="T17" fmla="*/ 261 h 741"/>
                  <a:gd name="T18" fmla="*/ 261 w 522"/>
                  <a:gd name="T19" fmla="*/ 353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741">
                    <a:moveTo>
                      <a:pt x="261" y="0"/>
                    </a:moveTo>
                    <a:cubicBezTo>
                      <a:pt x="120" y="0"/>
                      <a:pt x="0" y="113"/>
                      <a:pt x="0" y="261"/>
                    </a:cubicBezTo>
                    <a:cubicBezTo>
                      <a:pt x="0" y="451"/>
                      <a:pt x="261" y="740"/>
                      <a:pt x="261" y="740"/>
                    </a:cubicBezTo>
                    <a:cubicBezTo>
                      <a:pt x="261" y="740"/>
                      <a:pt x="521" y="451"/>
                      <a:pt x="521" y="261"/>
                    </a:cubicBezTo>
                    <a:cubicBezTo>
                      <a:pt x="521" y="113"/>
                      <a:pt x="402" y="0"/>
                      <a:pt x="261" y="0"/>
                    </a:cubicBezTo>
                    <a:close/>
                    <a:moveTo>
                      <a:pt x="261" y="353"/>
                    </a:moveTo>
                    <a:cubicBezTo>
                      <a:pt x="211" y="353"/>
                      <a:pt x="169" y="314"/>
                      <a:pt x="169" y="261"/>
                    </a:cubicBezTo>
                    <a:cubicBezTo>
                      <a:pt x="169" y="208"/>
                      <a:pt x="211" y="170"/>
                      <a:pt x="261" y="170"/>
                    </a:cubicBezTo>
                    <a:cubicBezTo>
                      <a:pt x="310" y="170"/>
                      <a:pt x="352" y="208"/>
                      <a:pt x="352" y="261"/>
                    </a:cubicBezTo>
                    <a:cubicBezTo>
                      <a:pt x="352" y="314"/>
                      <a:pt x="310" y="353"/>
                      <a:pt x="261" y="353"/>
                    </a:cubicBezTo>
                    <a:close/>
                  </a:path>
                </a:pathLst>
              </a:custGeom>
              <a:solidFill>
                <a:srgbClr val="2A648E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13147666-76A3-4BA9-9426-DBBA992D15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43962" y="2371725"/>
                <a:ext cx="0" cy="1419225"/>
              </a:xfrm>
              <a:prstGeom prst="line">
                <a:avLst/>
              </a:prstGeom>
              <a:solidFill>
                <a:srgbClr val="2A648E"/>
              </a:solidFill>
              <a:ln w="28575">
                <a:solidFill>
                  <a:srgbClr val="2A64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D7EFE65-49CF-49B7-B64C-B94F98EAC0E8}"/>
                </a:ext>
              </a:extLst>
            </p:cNvPr>
            <p:cNvSpPr txBox="1"/>
            <p:nvPr/>
          </p:nvSpPr>
          <p:spPr>
            <a:xfrm>
              <a:off x="1015532" y="1969884"/>
              <a:ext cx="8858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2007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EC689D8-525C-429F-91BF-9718DEC8413B}"/>
                </a:ext>
              </a:extLst>
            </p:cNvPr>
            <p:cNvSpPr txBox="1"/>
            <p:nvPr/>
          </p:nvSpPr>
          <p:spPr>
            <a:xfrm>
              <a:off x="1015532" y="2466975"/>
              <a:ext cx="29087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SSOM</a:t>
              </a:r>
              <a:b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Web Service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7A59626-F355-4928-8CEB-1EA9244E244C}"/>
              </a:ext>
            </a:extLst>
          </p:cNvPr>
          <p:cNvGrpSpPr/>
          <p:nvPr/>
        </p:nvGrpSpPr>
        <p:grpSpPr>
          <a:xfrm>
            <a:off x="2088570" y="3833446"/>
            <a:ext cx="3286473" cy="1821066"/>
            <a:chOff x="2088570" y="3833446"/>
            <a:chExt cx="3286473" cy="1821066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2A4E4F3-999C-4429-80E0-C05B934F05B3}"/>
                </a:ext>
              </a:extLst>
            </p:cNvPr>
            <p:cNvGrpSpPr/>
            <p:nvPr/>
          </p:nvGrpSpPr>
          <p:grpSpPr>
            <a:xfrm rot="10800000">
              <a:off x="2088570" y="3833446"/>
              <a:ext cx="381340" cy="1821066"/>
              <a:chOff x="1053292" y="1969884"/>
              <a:chExt cx="381340" cy="1821066"/>
            </a:xfrm>
          </p:grpSpPr>
          <p:sp>
            <p:nvSpPr>
              <p:cNvPr id="16" name="Location2">
                <a:extLst>
                  <a:ext uri="{FF2B5EF4-FFF2-40B4-BE49-F238E27FC236}">
                    <a16:creationId xmlns:a16="http://schemas.microsoft.com/office/drawing/2014/main" id="{BDDFF572-02CF-419F-8737-7087238CE36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053292" y="1969884"/>
                <a:ext cx="381340" cy="542925"/>
              </a:xfrm>
              <a:custGeom>
                <a:avLst/>
                <a:gdLst>
                  <a:gd name="T0" fmla="*/ 261 w 522"/>
                  <a:gd name="T1" fmla="*/ 0 h 741"/>
                  <a:gd name="T2" fmla="*/ 0 w 522"/>
                  <a:gd name="T3" fmla="*/ 261 h 741"/>
                  <a:gd name="T4" fmla="*/ 261 w 522"/>
                  <a:gd name="T5" fmla="*/ 740 h 741"/>
                  <a:gd name="T6" fmla="*/ 521 w 522"/>
                  <a:gd name="T7" fmla="*/ 261 h 741"/>
                  <a:gd name="T8" fmla="*/ 261 w 522"/>
                  <a:gd name="T9" fmla="*/ 0 h 741"/>
                  <a:gd name="T10" fmla="*/ 261 w 522"/>
                  <a:gd name="T11" fmla="*/ 353 h 741"/>
                  <a:gd name="T12" fmla="*/ 169 w 522"/>
                  <a:gd name="T13" fmla="*/ 261 h 741"/>
                  <a:gd name="T14" fmla="*/ 261 w 522"/>
                  <a:gd name="T15" fmla="*/ 170 h 741"/>
                  <a:gd name="T16" fmla="*/ 352 w 522"/>
                  <a:gd name="T17" fmla="*/ 261 h 741"/>
                  <a:gd name="T18" fmla="*/ 261 w 522"/>
                  <a:gd name="T19" fmla="*/ 353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741">
                    <a:moveTo>
                      <a:pt x="261" y="0"/>
                    </a:moveTo>
                    <a:cubicBezTo>
                      <a:pt x="120" y="0"/>
                      <a:pt x="0" y="113"/>
                      <a:pt x="0" y="261"/>
                    </a:cubicBezTo>
                    <a:cubicBezTo>
                      <a:pt x="0" y="451"/>
                      <a:pt x="261" y="740"/>
                      <a:pt x="261" y="740"/>
                    </a:cubicBezTo>
                    <a:cubicBezTo>
                      <a:pt x="261" y="740"/>
                      <a:pt x="521" y="451"/>
                      <a:pt x="521" y="261"/>
                    </a:cubicBezTo>
                    <a:cubicBezTo>
                      <a:pt x="521" y="113"/>
                      <a:pt x="402" y="0"/>
                      <a:pt x="261" y="0"/>
                    </a:cubicBezTo>
                    <a:close/>
                    <a:moveTo>
                      <a:pt x="261" y="353"/>
                    </a:moveTo>
                    <a:cubicBezTo>
                      <a:pt x="211" y="353"/>
                      <a:pt x="169" y="314"/>
                      <a:pt x="169" y="261"/>
                    </a:cubicBezTo>
                    <a:cubicBezTo>
                      <a:pt x="169" y="208"/>
                      <a:pt x="211" y="170"/>
                      <a:pt x="261" y="170"/>
                    </a:cubicBezTo>
                    <a:cubicBezTo>
                      <a:pt x="310" y="170"/>
                      <a:pt x="352" y="208"/>
                      <a:pt x="352" y="261"/>
                    </a:cubicBezTo>
                    <a:cubicBezTo>
                      <a:pt x="352" y="314"/>
                      <a:pt x="310" y="353"/>
                      <a:pt x="261" y="353"/>
                    </a:cubicBezTo>
                    <a:close/>
                  </a:path>
                </a:pathLst>
              </a:custGeom>
              <a:solidFill>
                <a:srgbClr val="2A648E"/>
              </a:solidFill>
              <a:ln>
                <a:solidFill>
                  <a:srgbClr val="2A648E"/>
                </a:solidFill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9383D2CB-95A7-4DCD-82D5-C47151703A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43962" y="2371725"/>
                <a:ext cx="0" cy="1419225"/>
              </a:xfrm>
              <a:prstGeom prst="line">
                <a:avLst/>
              </a:prstGeom>
              <a:ln w="28575">
                <a:solidFill>
                  <a:srgbClr val="2A64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2C9A0AF-B4AF-4CDB-9748-EA1BE6AF0F53}"/>
                </a:ext>
              </a:extLst>
            </p:cNvPr>
            <p:cNvSpPr txBox="1"/>
            <p:nvPr/>
          </p:nvSpPr>
          <p:spPr>
            <a:xfrm>
              <a:off x="2469910" y="5198383"/>
              <a:ext cx="8858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201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AA92F02-6AC3-435D-A808-C2E78CF64FD8}"/>
                </a:ext>
              </a:extLst>
            </p:cNvPr>
            <p:cNvSpPr txBox="1"/>
            <p:nvPr/>
          </p:nvSpPr>
          <p:spPr>
            <a:xfrm>
              <a:off x="2466287" y="4263339"/>
              <a:ext cx="290875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SSOM</a:t>
              </a:r>
              <a:b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sz="1700" dirty="0">
                  <a:solidFill>
                    <a:schemeClr val="accent1">
                      <a:lumMod val="50000"/>
                    </a:schemeClr>
                  </a:solidFill>
                </a:rPr>
                <a:t>Web Services</a:t>
              </a:r>
              <a:b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sz="1400" dirty="0">
                  <a:solidFill>
                    <a:schemeClr val="accent1">
                      <a:lumMod val="50000"/>
                    </a:schemeClr>
                  </a:solidFill>
                </a:rPr>
                <a:t>CSOM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1A544C6-34CD-4BDE-A247-0278DA654D1D}"/>
              </a:ext>
            </a:extLst>
          </p:cNvPr>
          <p:cNvGrpSpPr/>
          <p:nvPr/>
        </p:nvGrpSpPr>
        <p:grpSpPr>
          <a:xfrm>
            <a:off x="4144481" y="1944280"/>
            <a:ext cx="3274371" cy="1846670"/>
            <a:chOff x="4144481" y="1944280"/>
            <a:chExt cx="3274371" cy="184667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42D04-6D91-490A-B84A-58A5E4BBF9AD}"/>
                </a:ext>
              </a:extLst>
            </p:cNvPr>
            <p:cNvGrpSpPr/>
            <p:nvPr/>
          </p:nvGrpSpPr>
          <p:grpSpPr>
            <a:xfrm>
              <a:off x="4144481" y="1969884"/>
              <a:ext cx="381340" cy="1821066"/>
              <a:chOff x="1053292" y="1969884"/>
              <a:chExt cx="381340" cy="1821066"/>
            </a:xfrm>
          </p:grpSpPr>
          <p:sp>
            <p:nvSpPr>
              <p:cNvPr id="22" name="Location2">
                <a:extLst>
                  <a:ext uri="{FF2B5EF4-FFF2-40B4-BE49-F238E27FC236}">
                    <a16:creationId xmlns:a16="http://schemas.microsoft.com/office/drawing/2014/main" id="{DA421BBD-59A5-48BC-8F1E-58632D46B3D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053292" y="1969884"/>
                <a:ext cx="381340" cy="542925"/>
              </a:xfrm>
              <a:custGeom>
                <a:avLst/>
                <a:gdLst>
                  <a:gd name="T0" fmla="*/ 261 w 522"/>
                  <a:gd name="T1" fmla="*/ 0 h 741"/>
                  <a:gd name="T2" fmla="*/ 0 w 522"/>
                  <a:gd name="T3" fmla="*/ 261 h 741"/>
                  <a:gd name="T4" fmla="*/ 261 w 522"/>
                  <a:gd name="T5" fmla="*/ 740 h 741"/>
                  <a:gd name="T6" fmla="*/ 521 w 522"/>
                  <a:gd name="T7" fmla="*/ 261 h 741"/>
                  <a:gd name="T8" fmla="*/ 261 w 522"/>
                  <a:gd name="T9" fmla="*/ 0 h 741"/>
                  <a:gd name="T10" fmla="*/ 261 w 522"/>
                  <a:gd name="T11" fmla="*/ 353 h 741"/>
                  <a:gd name="T12" fmla="*/ 169 w 522"/>
                  <a:gd name="T13" fmla="*/ 261 h 741"/>
                  <a:gd name="T14" fmla="*/ 261 w 522"/>
                  <a:gd name="T15" fmla="*/ 170 h 741"/>
                  <a:gd name="T16" fmla="*/ 352 w 522"/>
                  <a:gd name="T17" fmla="*/ 261 h 741"/>
                  <a:gd name="T18" fmla="*/ 261 w 522"/>
                  <a:gd name="T19" fmla="*/ 353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741">
                    <a:moveTo>
                      <a:pt x="261" y="0"/>
                    </a:moveTo>
                    <a:cubicBezTo>
                      <a:pt x="120" y="0"/>
                      <a:pt x="0" y="113"/>
                      <a:pt x="0" y="261"/>
                    </a:cubicBezTo>
                    <a:cubicBezTo>
                      <a:pt x="0" y="451"/>
                      <a:pt x="261" y="740"/>
                      <a:pt x="261" y="740"/>
                    </a:cubicBezTo>
                    <a:cubicBezTo>
                      <a:pt x="261" y="740"/>
                      <a:pt x="521" y="451"/>
                      <a:pt x="521" y="261"/>
                    </a:cubicBezTo>
                    <a:cubicBezTo>
                      <a:pt x="521" y="113"/>
                      <a:pt x="402" y="0"/>
                      <a:pt x="261" y="0"/>
                    </a:cubicBezTo>
                    <a:close/>
                    <a:moveTo>
                      <a:pt x="261" y="353"/>
                    </a:moveTo>
                    <a:cubicBezTo>
                      <a:pt x="211" y="353"/>
                      <a:pt x="169" y="314"/>
                      <a:pt x="169" y="261"/>
                    </a:cubicBezTo>
                    <a:cubicBezTo>
                      <a:pt x="169" y="208"/>
                      <a:pt x="211" y="170"/>
                      <a:pt x="261" y="170"/>
                    </a:cubicBezTo>
                    <a:cubicBezTo>
                      <a:pt x="310" y="170"/>
                      <a:pt x="352" y="208"/>
                      <a:pt x="352" y="261"/>
                    </a:cubicBezTo>
                    <a:cubicBezTo>
                      <a:pt x="352" y="314"/>
                      <a:pt x="310" y="353"/>
                      <a:pt x="261" y="353"/>
                    </a:cubicBezTo>
                    <a:close/>
                  </a:path>
                </a:pathLst>
              </a:custGeom>
              <a:solidFill>
                <a:srgbClr val="2A648E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B3F4E513-00D9-405E-97C7-D132722836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43962" y="2371725"/>
                <a:ext cx="0" cy="1419225"/>
              </a:xfrm>
              <a:prstGeom prst="line">
                <a:avLst/>
              </a:prstGeom>
              <a:ln w="28575">
                <a:solidFill>
                  <a:srgbClr val="2A64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5BD389F-3453-46C9-9B48-FDA63317F290}"/>
                </a:ext>
              </a:extLst>
            </p:cNvPr>
            <p:cNvSpPr txBox="1"/>
            <p:nvPr/>
          </p:nvSpPr>
          <p:spPr>
            <a:xfrm>
              <a:off x="4510096" y="1944280"/>
              <a:ext cx="14787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2013, Onlin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2CA9980-B738-4218-A6A0-B517268B5BA7}"/>
                </a:ext>
              </a:extLst>
            </p:cNvPr>
            <p:cNvSpPr txBox="1"/>
            <p:nvPr/>
          </p:nvSpPr>
          <p:spPr>
            <a:xfrm>
              <a:off x="4510096" y="2371725"/>
              <a:ext cx="290875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</a:rPr>
                <a:t>SSOM</a:t>
              </a:r>
              <a:b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sz="1300" dirty="0">
                  <a:solidFill>
                    <a:schemeClr val="accent1">
                      <a:lumMod val="50000"/>
                    </a:schemeClr>
                  </a:solidFill>
                </a:rPr>
                <a:t>Web Services</a:t>
              </a:r>
              <a:b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CSOM, JSOM</a:t>
              </a:r>
            </a:p>
            <a:p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</a:rPr>
                <a:t>RES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B29E622-AA0B-49AC-9A05-1FD1EECE819C}"/>
              </a:ext>
            </a:extLst>
          </p:cNvPr>
          <p:cNvGrpSpPr/>
          <p:nvPr/>
        </p:nvGrpSpPr>
        <p:grpSpPr>
          <a:xfrm>
            <a:off x="6676066" y="3867062"/>
            <a:ext cx="3286472" cy="1821066"/>
            <a:chOff x="6676066" y="3867062"/>
            <a:chExt cx="3286472" cy="1821066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F3A5DCC-BE8C-4067-882B-F71D3CE52A17}"/>
                </a:ext>
              </a:extLst>
            </p:cNvPr>
            <p:cNvGrpSpPr/>
            <p:nvPr/>
          </p:nvGrpSpPr>
          <p:grpSpPr>
            <a:xfrm rot="10800000">
              <a:off x="6676066" y="3867062"/>
              <a:ext cx="381340" cy="1821066"/>
              <a:chOff x="1053292" y="1969884"/>
              <a:chExt cx="381340" cy="1821066"/>
            </a:xfrm>
          </p:grpSpPr>
          <p:sp>
            <p:nvSpPr>
              <p:cNvPr id="28" name="Location2">
                <a:extLst>
                  <a:ext uri="{FF2B5EF4-FFF2-40B4-BE49-F238E27FC236}">
                    <a16:creationId xmlns:a16="http://schemas.microsoft.com/office/drawing/2014/main" id="{A2106257-906F-4D41-AE95-D81E6DD75F2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053292" y="1969884"/>
                <a:ext cx="381340" cy="542925"/>
              </a:xfrm>
              <a:custGeom>
                <a:avLst/>
                <a:gdLst>
                  <a:gd name="T0" fmla="*/ 261 w 522"/>
                  <a:gd name="T1" fmla="*/ 0 h 741"/>
                  <a:gd name="T2" fmla="*/ 0 w 522"/>
                  <a:gd name="T3" fmla="*/ 261 h 741"/>
                  <a:gd name="T4" fmla="*/ 261 w 522"/>
                  <a:gd name="T5" fmla="*/ 740 h 741"/>
                  <a:gd name="T6" fmla="*/ 521 w 522"/>
                  <a:gd name="T7" fmla="*/ 261 h 741"/>
                  <a:gd name="T8" fmla="*/ 261 w 522"/>
                  <a:gd name="T9" fmla="*/ 0 h 741"/>
                  <a:gd name="T10" fmla="*/ 261 w 522"/>
                  <a:gd name="T11" fmla="*/ 353 h 741"/>
                  <a:gd name="T12" fmla="*/ 169 w 522"/>
                  <a:gd name="T13" fmla="*/ 261 h 741"/>
                  <a:gd name="T14" fmla="*/ 261 w 522"/>
                  <a:gd name="T15" fmla="*/ 170 h 741"/>
                  <a:gd name="T16" fmla="*/ 352 w 522"/>
                  <a:gd name="T17" fmla="*/ 261 h 741"/>
                  <a:gd name="T18" fmla="*/ 261 w 522"/>
                  <a:gd name="T19" fmla="*/ 353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741">
                    <a:moveTo>
                      <a:pt x="261" y="0"/>
                    </a:moveTo>
                    <a:cubicBezTo>
                      <a:pt x="120" y="0"/>
                      <a:pt x="0" y="113"/>
                      <a:pt x="0" y="261"/>
                    </a:cubicBezTo>
                    <a:cubicBezTo>
                      <a:pt x="0" y="451"/>
                      <a:pt x="261" y="740"/>
                      <a:pt x="261" y="740"/>
                    </a:cubicBezTo>
                    <a:cubicBezTo>
                      <a:pt x="261" y="740"/>
                      <a:pt x="521" y="451"/>
                      <a:pt x="521" y="261"/>
                    </a:cubicBezTo>
                    <a:cubicBezTo>
                      <a:pt x="521" y="113"/>
                      <a:pt x="402" y="0"/>
                      <a:pt x="261" y="0"/>
                    </a:cubicBezTo>
                    <a:close/>
                    <a:moveTo>
                      <a:pt x="261" y="353"/>
                    </a:moveTo>
                    <a:cubicBezTo>
                      <a:pt x="211" y="353"/>
                      <a:pt x="169" y="314"/>
                      <a:pt x="169" y="261"/>
                    </a:cubicBezTo>
                    <a:cubicBezTo>
                      <a:pt x="169" y="208"/>
                      <a:pt x="211" y="170"/>
                      <a:pt x="261" y="170"/>
                    </a:cubicBezTo>
                    <a:cubicBezTo>
                      <a:pt x="310" y="170"/>
                      <a:pt x="352" y="208"/>
                      <a:pt x="352" y="261"/>
                    </a:cubicBezTo>
                    <a:cubicBezTo>
                      <a:pt x="352" y="314"/>
                      <a:pt x="310" y="353"/>
                      <a:pt x="261" y="353"/>
                    </a:cubicBezTo>
                    <a:close/>
                  </a:path>
                </a:pathLst>
              </a:custGeom>
              <a:solidFill>
                <a:srgbClr val="2A648E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E28664F6-7B0E-4CD6-82A0-A86E341E3D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43962" y="2371725"/>
                <a:ext cx="0" cy="1419225"/>
              </a:xfrm>
              <a:prstGeom prst="line">
                <a:avLst/>
              </a:prstGeom>
              <a:ln w="28575">
                <a:solidFill>
                  <a:srgbClr val="2A64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7444DA5-8AE6-4A76-8CC2-D085DB8EC271}"/>
                </a:ext>
              </a:extLst>
            </p:cNvPr>
            <p:cNvSpPr txBox="1"/>
            <p:nvPr/>
          </p:nvSpPr>
          <p:spPr>
            <a:xfrm>
              <a:off x="7057405" y="5252671"/>
              <a:ext cx="8858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2016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B40F47B-B151-4265-9AF4-6A7983FBD6C1}"/>
                </a:ext>
              </a:extLst>
            </p:cNvPr>
            <p:cNvSpPr txBox="1"/>
            <p:nvPr/>
          </p:nvSpPr>
          <p:spPr>
            <a:xfrm>
              <a:off x="7053782" y="4165335"/>
              <a:ext cx="2908756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400" dirty="0">
                  <a:solidFill>
                    <a:srgbClr val="4472C4">
                      <a:lumMod val="50000"/>
                    </a:srgbClr>
                  </a:solidFill>
                </a:rPr>
                <a:t>SSOM</a:t>
              </a:r>
              <a:br>
                <a:rPr lang="en-US" dirty="0">
                  <a:solidFill>
                    <a:srgbClr val="4472C4">
                      <a:lumMod val="50000"/>
                    </a:srgbClr>
                  </a:solidFill>
                </a:rPr>
              </a:br>
              <a:r>
                <a:rPr lang="en-US" sz="1000" dirty="0">
                  <a:solidFill>
                    <a:srgbClr val="4472C4">
                      <a:lumMod val="50000"/>
                    </a:srgbClr>
                  </a:solidFill>
                </a:rPr>
                <a:t>Web Services</a:t>
              </a:r>
              <a:br>
                <a:rPr lang="en-US" dirty="0">
                  <a:solidFill>
                    <a:srgbClr val="4472C4">
                      <a:lumMod val="50000"/>
                    </a:srgbClr>
                  </a:solidFill>
                </a:rPr>
              </a:br>
              <a:r>
                <a:rPr lang="en-US" dirty="0">
                  <a:solidFill>
                    <a:srgbClr val="4472C4">
                      <a:lumMod val="50000"/>
                    </a:srgbClr>
                  </a:solidFill>
                </a:rPr>
                <a:t>CSOM, JSOM</a:t>
              </a:r>
            </a:p>
            <a:p>
              <a:pPr lvl="0"/>
              <a:r>
                <a:rPr lang="en-US" sz="2000" dirty="0">
                  <a:solidFill>
                    <a:srgbClr val="4472C4">
                      <a:lumMod val="50000"/>
                    </a:srgbClr>
                  </a:solidFill>
                </a:rPr>
                <a:t>REST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4FDE0BA-F478-479D-AE85-A437AB4C81CB}"/>
              </a:ext>
            </a:extLst>
          </p:cNvPr>
          <p:cNvGrpSpPr/>
          <p:nvPr/>
        </p:nvGrpSpPr>
        <p:grpSpPr>
          <a:xfrm>
            <a:off x="9026137" y="1939413"/>
            <a:ext cx="3271210" cy="1821066"/>
            <a:chOff x="6252797" y="1939413"/>
            <a:chExt cx="3271210" cy="182106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B8373AA-D6B3-4C79-958E-7AF0C1621147}"/>
                </a:ext>
              </a:extLst>
            </p:cNvPr>
            <p:cNvGrpSpPr/>
            <p:nvPr/>
          </p:nvGrpSpPr>
          <p:grpSpPr>
            <a:xfrm>
              <a:off x="6252797" y="1939413"/>
              <a:ext cx="381340" cy="1821066"/>
              <a:chOff x="1053292" y="1969884"/>
              <a:chExt cx="381340" cy="1821066"/>
            </a:xfrm>
          </p:grpSpPr>
          <p:sp>
            <p:nvSpPr>
              <p:cNvPr id="34" name="Location2">
                <a:extLst>
                  <a:ext uri="{FF2B5EF4-FFF2-40B4-BE49-F238E27FC236}">
                    <a16:creationId xmlns:a16="http://schemas.microsoft.com/office/drawing/2014/main" id="{00166F9F-E815-4170-B99D-F8F30D5630A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053292" y="1969884"/>
                <a:ext cx="381340" cy="542925"/>
              </a:xfrm>
              <a:custGeom>
                <a:avLst/>
                <a:gdLst>
                  <a:gd name="T0" fmla="*/ 261 w 522"/>
                  <a:gd name="T1" fmla="*/ 0 h 741"/>
                  <a:gd name="T2" fmla="*/ 0 w 522"/>
                  <a:gd name="T3" fmla="*/ 261 h 741"/>
                  <a:gd name="T4" fmla="*/ 261 w 522"/>
                  <a:gd name="T5" fmla="*/ 740 h 741"/>
                  <a:gd name="T6" fmla="*/ 521 w 522"/>
                  <a:gd name="T7" fmla="*/ 261 h 741"/>
                  <a:gd name="T8" fmla="*/ 261 w 522"/>
                  <a:gd name="T9" fmla="*/ 0 h 741"/>
                  <a:gd name="T10" fmla="*/ 261 w 522"/>
                  <a:gd name="T11" fmla="*/ 353 h 741"/>
                  <a:gd name="T12" fmla="*/ 169 w 522"/>
                  <a:gd name="T13" fmla="*/ 261 h 741"/>
                  <a:gd name="T14" fmla="*/ 261 w 522"/>
                  <a:gd name="T15" fmla="*/ 170 h 741"/>
                  <a:gd name="T16" fmla="*/ 352 w 522"/>
                  <a:gd name="T17" fmla="*/ 261 h 741"/>
                  <a:gd name="T18" fmla="*/ 261 w 522"/>
                  <a:gd name="T19" fmla="*/ 353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741">
                    <a:moveTo>
                      <a:pt x="261" y="0"/>
                    </a:moveTo>
                    <a:cubicBezTo>
                      <a:pt x="120" y="0"/>
                      <a:pt x="0" y="113"/>
                      <a:pt x="0" y="261"/>
                    </a:cubicBezTo>
                    <a:cubicBezTo>
                      <a:pt x="0" y="451"/>
                      <a:pt x="261" y="740"/>
                      <a:pt x="261" y="740"/>
                    </a:cubicBezTo>
                    <a:cubicBezTo>
                      <a:pt x="261" y="740"/>
                      <a:pt x="521" y="451"/>
                      <a:pt x="521" y="261"/>
                    </a:cubicBezTo>
                    <a:cubicBezTo>
                      <a:pt x="521" y="113"/>
                      <a:pt x="402" y="0"/>
                      <a:pt x="261" y="0"/>
                    </a:cubicBezTo>
                    <a:close/>
                    <a:moveTo>
                      <a:pt x="261" y="353"/>
                    </a:moveTo>
                    <a:cubicBezTo>
                      <a:pt x="211" y="353"/>
                      <a:pt x="169" y="314"/>
                      <a:pt x="169" y="261"/>
                    </a:cubicBezTo>
                    <a:cubicBezTo>
                      <a:pt x="169" y="208"/>
                      <a:pt x="211" y="170"/>
                      <a:pt x="261" y="170"/>
                    </a:cubicBezTo>
                    <a:cubicBezTo>
                      <a:pt x="310" y="170"/>
                      <a:pt x="352" y="208"/>
                      <a:pt x="352" y="261"/>
                    </a:cubicBezTo>
                    <a:cubicBezTo>
                      <a:pt x="352" y="314"/>
                      <a:pt x="310" y="353"/>
                      <a:pt x="261" y="353"/>
                    </a:cubicBezTo>
                    <a:close/>
                  </a:path>
                </a:pathLst>
              </a:custGeom>
              <a:solidFill>
                <a:srgbClr val="2A648E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dirty="0"/>
              </a:p>
            </p:txBody>
          </p: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2C2B7EC-8A8B-46B8-A65C-C548EB9F5F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43962" y="2371725"/>
                <a:ext cx="0" cy="1419225"/>
              </a:xfrm>
              <a:prstGeom prst="line">
                <a:avLst/>
              </a:prstGeom>
              <a:ln w="28575">
                <a:solidFill>
                  <a:srgbClr val="2A648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E25EE6D-0B17-4A68-806B-DB32982F57D4}"/>
                </a:ext>
              </a:extLst>
            </p:cNvPr>
            <p:cNvSpPr txBox="1"/>
            <p:nvPr/>
          </p:nvSpPr>
          <p:spPr>
            <a:xfrm>
              <a:off x="6639750" y="1971809"/>
              <a:ext cx="13633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2019 - 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AC71F1D-655F-41BA-9827-271439D9074F}"/>
                </a:ext>
              </a:extLst>
            </p:cNvPr>
            <p:cNvSpPr txBox="1"/>
            <p:nvPr/>
          </p:nvSpPr>
          <p:spPr>
            <a:xfrm>
              <a:off x="6615251" y="2442866"/>
              <a:ext cx="2908756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000" dirty="0">
                  <a:solidFill>
                    <a:srgbClr val="4472C4">
                      <a:lumMod val="50000"/>
                    </a:srgbClr>
                  </a:solidFill>
                </a:rPr>
                <a:t>SSOM</a:t>
              </a:r>
              <a:br>
                <a:rPr lang="en-US" dirty="0">
                  <a:solidFill>
                    <a:srgbClr val="4472C4">
                      <a:lumMod val="50000"/>
                    </a:srgbClr>
                  </a:solidFill>
                </a:rPr>
              </a:br>
              <a:r>
                <a:rPr lang="en-US" sz="1000" dirty="0">
                  <a:solidFill>
                    <a:srgbClr val="4472C4">
                      <a:lumMod val="50000"/>
                    </a:srgbClr>
                  </a:solidFill>
                </a:rPr>
                <a:t>Web Services</a:t>
              </a:r>
              <a:br>
                <a:rPr lang="en-US" dirty="0">
                  <a:solidFill>
                    <a:srgbClr val="4472C4">
                      <a:lumMod val="50000"/>
                    </a:srgbClr>
                  </a:solidFill>
                </a:rPr>
              </a:br>
              <a:r>
                <a:rPr lang="en-US" sz="1400" dirty="0">
                  <a:solidFill>
                    <a:srgbClr val="4472C4">
                      <a:lumMod val="50000"/>
                    </a:srgbClr>
                  </a:solidFill>
                </a:rPr>
                <a:t>CSOM, JSOM</a:t>
              </a:r>
            </a:p>
            <a:p>
              <a:pPr lvl="0"/>
              <a:r>
                <a:rPr lang="en-US" sz="2200" dirty="0">
                  <a:solidFill>
                    <a:srgbClr val="4472C4">
                      <a:lumMod val="50000"/>
                    </a:srgbClr>
                  </a:solidFill>
                </a:rPr>
                <a:t>RE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2209326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491CB-FEA6-4E6C-92EF-B5CD73706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3237" y="-127384"/>
            <a:ext cx="2945524" cy="1325563"/>
          </a:xfrm>
        </p:spPr>
        <p:txBody>
          <a:bodyPr/>
          <a:lstStyle/>
          <a:p>
            <a:r>
              <a:rPr lang="en-US" b="1" dirty="0"/>
              <a:t>Why REST? 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8E3DDFB-FCF0-49E6-9524-5EE1A2D0C8E3}"/>
              </a:ext>
            </a:extLst>
          </p:cNvPr>
          <p:cNvSpPr/>
          <p:nvPr/>
        </p:nvSpPr>
        <p:spPr>
          <a:xfrm>
            <a:off x="2377996" y="1366635"/>
            <a:ext cx="3540954" cy="2124572"/>
          </a:xfrm>
          <a:custGeom>
            <a:avLst/>
            <a:gdLst>
              <a:gd name="connsiteX0" fmla="*/ 0 w 3540954"/>
              <a:gd name="connsiteY0" fmla="*/ 0 h 2124572"/>
              <a:gd name="connsiteX1" fmla="*/ 3540954 w 3540954"/>
              <a:gd name="connsiteY1" fmla="*/ 0 h 2124572"/>
              <a:gd name="connsiteX2" fmla="*/ 3540954 w 3540954"/>
              <a:gd name="connsiteY2" fmla="*/ 2124572 h 2124572"/>
              <a:gd name="connsiteX3" fmla="*/ 0 w 3540954"/>
              <a:gd name="connsiteY3" fmla="*/ 2124572 h 2124572"/>
              <a:gd name="connsiteX4" fmla="*/ 0 w 3540954"/>
              <a:gd name="connsiteY4" fmla="*/ 0 h 2124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0954" h="2124572">
                <a:moveTo>
                  <a:pt x="0" y="0"/>
                </a:moveTo>
                <a:lnTo>
                  <a:pt x="3540954" y="0"/>
                </a:lnTo>
                <a:lnTo>
                  <a:pt x="3540954" y="2124572"/>
                </a:lnTo>
                <a:lnTo>
                  <a:pt x="0" y="212457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5730" tIns="125730" rIns="125730" bIns="125730" numCol="1" spcCol="1270" anchor="ctr" anchorCtr="0">
            <a:noAutofit/>
          </a:bodyPr>
          <a:lstStyle/>
          <a:p>
            <a:pPr marL="0" lvl="0" indent="0"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ct val="100000"/>
              <a:buNone/>
            </a:pPr>
            <a:r>
              <a:rPr lang="en-US" sz="3300" kern="1200" dirty="0"/>
              <a:t>Commonly used standard across a lot of application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D376D6F-B81B-48D0-B77F-9B697AC627CB}"/>
              </a:ext>
            </a:extLst>
          </p:cNvPr>
          <p:cNvSpPr/>
          <p:nvPr/>
        </p:nvSpPr>
        <p:spPr>
          <a:xfrm>
            <a:off x="6273047" y="1366635"/>
            <a:ext cx="3540954" cy="2124572"/>
          </a:xfrm>
          <a:custGeom>
            <a:avLst/>
            <a:gdLst>
              <a:gd name="connsiteX0" fmla="*/ 0 w 3540954"/>
              <a:gd name="connsiteY0" fmla="*/ 0 h 2124572"/>
              <a:gd name="connsiteX1" fmla="*/ 3540954 w 3540954"/>
              <a:gd name="connsiteY1" fmla="*/ 0 h 2124572"/>
              <a:gd name="connsiteX2" fmla="*/ 3540954 w 3540954"/>
              <a:gd name="connsiteY2" fmla="*/ 2124572 h 2124572"/>
              <a:gd name="connsiteX3" fmla="*/ 0 w 3540954"/>
              <a:gd name="connsiteY3" fmla="*/ 2124572 h 2124572"/>
              <a:gd name="connsiteX4" fmla="*/ 0 w 3540954"/>
              <a:gd name="connsiteY4" fmla="*/ 0 h 2124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0954" h="2124572">
                <a:moveTo>
                  <a:pt x="0" y="0"/>
                </a:moveTo>
                <a:lnTo>
                  <a:pt x="3540954" y="0"/>
                </a:lnTo>
                <a:lnTo>
                  <a:pt x="3540954" y="2124572"/>
                </a:lnTo>
                <a:lnTo>
                  <a:pt x="0" y="212457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5730" tIns="125730" rIns="125730" bIns="125730" numCol="1" spcCol="1270" anchor="ctr" anchorCtr="0">
            <a:noAutofit/>
          </a:bodyPr>
          <a:lstStyle/>
          <a:p>
            <a:pPr marL="0" lvl="0" indent="0"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ct val="100000"/>
              <a:buNone/>
            </a:pPr>
            <a:r>
              <a:rPr lang="en-US" sz="3300" kern="1200" dirty="0"/>
              <a:t>A method to interact with a resource in a known way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0876CF3-333E-4ABB-BF0D-EAFE7D719F74}"/>
              </a:ext>
            </a:extLst>
          </p:cNvPr>
          <p:cNvSpPr/>
          <p:nvPr/>
        </p:nvSpPr>
        <p:spPr>
          <a:xfrm>
            <a:off x="4325522" y="3845303"/>
            <a:ext cx="3540954" cy="2124572"/>
          </a:xfrm>
          <a:custGeom>
            <a:avLst/>
            <a:gdLst>
              <a:gd name="connsiteX0" fmla="*/ 0 w 3540954"/>
              <a:gd name="connsiteY0" fmla="*/ 0 h 2124572"/>
              <a:gd name="connsiteX1" fmla="*/ 3540954 w 3540954"/>
              <a:gd name="connsiteY1" fmla="*/ 0 h 2124572"/>
              <a:gd name="connsiteX2" fmla="*/ 3540954 w 3540954"/>
              <a:gd name="connsiteY2" fmla="*/ 2124572 h 2124572"/>
              <a:gd name="connsiteX3" fmla="*/ 0 w 3540954"/>
              <a:gd name="connsiteY3" fmla="*/ 2124572 h 2124572"/>
              <a:gd name="connsiteX4" fmla="*/ 0 w 3540954"/>
              <a:gd name="connsiteY4" fmla="*/ 0 h 2124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0954" h="2124572">
                <a:moveTo>
                  <a:pt x="0" y="0"/>
                </a:moveTo>
                <a:lnTo>
                  <a:pt x="3540954" y="0"/>
                </a:lnTo>
                <a:lnTo>
                  <a:pt x="3540954" y="2124572"/>
                </a:lnTo>
                <a:lnTo>
                  <a:pt x="0" y="212457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3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5730" tIns="125730" rIns="125730" bIns="125730" numCol="1" spcCol="1270" anchor="ctr" anchorCtr="0">
            <a:noAutofit/>
          </a:bodyPr>
          <a:lstStyle/>
          <a:p>
            <a:pPr marL="0" lvl="0" indent="0"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ct val="100000"/>
              <a:buNone/>
            </a:pPr>
            <a:r>
              <a:rPr lang="en-US" sz="3300" kern="1200" dirty="0"/>
              <a:t>Platform independent </a:t>
            </a:r>
          </a:p>
        </p:txBody>
      </p:sp>
    </p:spTree>
    <p:extLst>
      <p:ext uri="{BB962C8B-B14F-4D97-AF65-F5344CB8AC3E}">
        <p14:creationId xmlns:p14="http://schemas.microsoft.com/office/powerpoint/2010/main" val="379473606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B718-4A0F-48A1-8027-FF48AFBDF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Consuming REST API: common developer issue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8AAACC3-FD17-4E0C-9BED-719D44918C26}"/>
              </a:ext>
            </a:extLst>
          </p:cNvPr>
          <p:cNvSpPr/>
          <p:nvPr/>
        </p:nvSpPr>
        <p:spPr>
          <a:xfrm>
            <a:off x="518629" y="2423160"/>
            <a:ext cx="2519572" cy="2195684"/>
          </a:xfrm>
          <a:custGeom>
            <a:avLst/>
            <a:gdLst>
              <a:gd name="connsiteX0" fmla="*/ 0 w 2373327"/>
              <a:gd name="connsiteY0" fmla="*/ 118666 h 1186663"/>
              <a:gd name="connsiteX1" fmla="*/ 118666 w 2373327"/>
              <a:gd name="connsiteY1" fmla="*/ 0 h 1186663"/>
              <a:gd name="connsiteX2" fmla="*/ 2254661 w 2373327"/>
              <a:gd name="connsiteY2" fmla="*/ 0 h 1186663"/>
              <a:gd name="connsiteX3" fmla="*/ 2373327 w 2373327"/>
              <a:gd name="connsiteY3" fmla="*/ 118666 h 1186663"/>
              <a:gd name="connsiteX4" fmla="*/ 2373327 w 2373327"/>
              <a:gd name="connsiteY4" fmla="*/ 1067997 h 1186663"/>
              <a:gd name="connsiteX5" fmla="*/ 2254661 w 2373327"/>
              <a:gd name="connsiteY5" fmla="*/ 1186663 h 1186663"/>
              <a:gd name="connsiteX6" fmla="*/ 118666 w 2373327"/>
              <a:gd name="connsiteY6" fmla="*/ 1186663 h 1186663"/>
              <a:gd name="connsiteX7" fmla="*/ 0 w 2373327"/>
              <a:gd name="connsiteY7" fmla="*/ 1067997 h 1186663"/>
              <a:gd name="connsiteX8" fmla="*/ 0 w 2373327"/>
              <a:gd name="connsiteY8" fmla="*/ 118666 h 1186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73327" h="1186663">
                <a:moveTo>
                  <a:pt x="0" y="118666"/>
                </a:moveTo>
                <a:cubicBezTo>
                  <a:pt x="0" y="53129"/>
                  <a:pt x="53129" y="0"/>
                  <a:pt x="118666" y="0"/>
                </a:cubicBezTo>
                <a:lnTo>
                  <a:pt x="2254661" y="0"/>
                </a:lnTo>
                <a:cubicBezTo>
                  <a:pt x="2320198" y="0"/>
                  <a:pt x="2373327" y="53129"/>
                  <a:pt x="2373327" y="118666"/>
                </a:cubicBezTo>
                <a:lnTo>
                  <a:pt x="2373327" y="1067997"/>
                </a:lnTo>
                <a:cubicBezTo>
                  <a:pt x="2373327" y="1133534"/>
                  <a:pt x="2320198" y="1186663"/>
                  <a:pt x="2254661" y="1186663"/>
                </a:cubicBezTo>
                <a:lnTo>
                  <a:pt x="118666" y="1186663"/>
                </a:lnTo>
                <a:cubicBezTo>
                  <a:pt x="53129" y="1186663"/>
                  <a:pt x="0" y="1133534"/>
                  <a:pt x="0" y="1067997"/>
                </a:cubicBezTo>
                <a:lnTo>
                  <a:pt x="0" y="118666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381" tIns="66506" rIns="82381" bIns="66506" numCol="1" spcCol="1270" anchor="ctr" anchorCtr="0">
            <a:noAutofit/>
          </a:bodyPr>
          <a:lstStyle/>
          <a:p>
            <a:pPr marL="0" lvl="0" indent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dirty="0"/>
              <a:t>Documentation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08795D7-0C5D-4759-860A-E2605B08F27F}"/>
              </a:ext>
            </a:extLst>
          </p:cNvPr>
          <p:cNvSpPr/>
          <p:nvPr/>
        </p:nvSpPr>
        <p:spPr>
          <a:xfrm>
            <a:off x="3396602" y="2423160"/>
            <a:ext cx="2519572" cy="2195684"/>
          </a:xfrm>
          <a:custGeom>
            <a:avLst/>
            <a:gdLst>
              <a:gd name="connsiteX0" fmla="*/ 0 w 2373327"/>
              <a:gd name="connsiteY0" fmla="*/ 118666 h 1186663"/>
              <a:gd name="connsiteX1" fmla="*/ 118666 w 2373327"/>
              <a:gd name="connsiteY1" fmla="*/ 0 h 1186663"/>
              <a:gd name="connsiteX2" fmla="*/ 2254661 w 2373327"/>
              <a:gd name="connsiteY2" fmla="*/ 0 h 1186663"/>
              <a:gd name="connsiteX3" fmla="*/ 2373327 w 2373327"/>
              <a:gd name="connsiteY3" fmla="*/ 118666 h 1186663"/>
              <a:gd name="connsiteX4" fmla="*/ 2373327 w 2373327"/>
              <a:gd name="connsiteY4" fmla="*/ 1067997 h 1186663"/>
              <a:gd name="connsiteX5" fmla="*/ 2254661 w 2373327"/>
              <a:gd name="connsiteY5" fmla="*/ 1186663 h 1186663"/>
              <a:gd name="connsiteX6" fmla="*/ 118666 w 2373327"/>
              <a:gd name="connsiteY6" fmla="*/ 1186663 h 1186663"/>
              <a:gd name="connsiteX7" fmla="*/ 0 w 2373327"/>
              <a:gd name="connsiteY7" fmla="*/ 1067997 h 1186663"/>
              <a:gd name="connsiteX8" fmla="*/ 0 w 2373327"/>
              <a:gd name="connsiteY8" fmla="*/ 118666 h 1186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73327" h="1186663">
                <a:moveTo>
                  <a:pt x="0" y="118666"/>
                </a:moveTo>
                <a:cubicBezTo>
                  <a:pt x="0" y="53129"/>
                  <a:pt x="53129" y="0"/>
                  <a:pt x="118666" y="0"/>
                </a:cubicBezTo>
                <a:lnTo>
                  <a:pt x="2254661" y="0"/>
                </a:lnTo>
                <a:cubicBezTo>
                  <a:pt x="2320198" y="0"/>
                  <a:pt x="2373327" y="53129"/>
                  <a:pt x="2373327" y="118666"/>
                </a:cubicBezTo>
                <a:lnTo>
                  <a:pt x="2373327" y="1067997"/>
                </a:lnTo>
                <a:cubicBezTo>
                  <a:pt x="2373327" y="1133534"/>
                  <a:pt x="2320198" y="1186663"/>
                  <a:pt x="2254661" y="1186663"/>
                </a:cubicBezTo>
                <a:lnTo>
                  <a:pt x="118666" y="1186663"/>
                </a:lnTo>
                <a:cubicBezTo>
                  <a:pt x="53129" y="1186663"/>
                  <a:pt x="0" y="1133534"/>
                  <a:pt x="0" y="1067997"/>
                </a:cubicBezTo>
                <a:lnTo>
                  <a:pt x="0" y="118666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381" tIns="66506" rIns="82381" bIns="66506" numCol="1" spcCol="1270" anchor="ctr" anchorCtr="0">
            <a:noAutofit/>
          </a:bodyPr>
          <a:lstStyle/>
          <a:p>
            <a:pPr marL="0" lvl="0" indent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200" kern="1200"/>
              <a:t>Inconvenient string manipula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0253F7-E1C7-422E-B4BF-5A6D8EB435DD}"/>
              </a:ext>
            </a:extLst>
          </p:cNvPr>
          <p:cNvSpPr/>
          <p:nvPr/>
        </p:nvSpPr>
        <p:spPr>
          <a:xfrm>
            <a:off x="6275822" y="2444661"/>
            <a:ext cx="2519572" cy="2195684"/>
          </a:xfrm>
          <a:custGeom>
            <a:avLst/>
            <a:gdLst>
              <a:gd name="connsiteX0" fmla="*/ 0 w 2373327"/>
              <a:gd name="connsiteY0" fmla="*/ 118666 h 1186663"/>
              <a:gd name="connsiteX1" fmla="*/ 118666 w 2373327"/>
              <a:gd name="connsiteY1" fmla="*/ 0 h 1186663"/>
              <a:gd name="connsiteX2" fmla="*/ 2254661 w 2373327"/>
              <a:gd name="connsiteY2" fmla="*/ 0 h 1186663"/>
              <a:gd name="connsiteX3" fmla="*/ 2373327 w 2373327"/>
              <a:gd name="connsiteY3" fmla="*/ 118666 h 1186663"/>
              <a:gd name="connsiteX4" fmla="*/ 2373327 w 2373327"/>
              <a:gd name="connsiteY4" fmla="*/ 1067997 h 1186663"/>
              <a:gd name="connsiteX5" fmla="*/ 2254661 w 2373327"/>
              <a:gd name="connsiteY5" fmla="*/ 1186663 h 1186663"/>
              <a:gd name="connsiteX6" fmla="*/ 118666 w 2373327"/>
              <a:gd name="connsiteY6" fmla="*/ 1186663 h 1186663"/>
              <a:gd name="connsiteX7" fmla="*/ 0 w 2373327"/>
              <a:gd name="connsiteY7" fmla="*/ 1067997 h 1186663"/>
              <a:gd name="connsiteX8" fmla="*/ 0 w 2373327"/>
              <a:gd name="connsiteY8" fmla="*/ 118666 h 1186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73327" h="1186663">
                <a:moveTo>
                  <a:pt x="0" y="118666"/>
                </a:moveTo>
                <a:cubicBezTo>
                  <a:pt x="0" y="53129"/>
                  <a:pt x="53129" y="0"/>
                  <a:pt x="118666" y="0"/>
                </a:cubicBezTo>
                <a:lnTo>
                  <a:pt x="2254661" y="0"/>
                </a:lnTo>
                <a:cubicBezTo>
                  <a:pt x="2320198" y="0"/>
                  <a:pt x="2373327" y="53129"/>
                  <a:pt x="2373327" y="118666"/>
                </a:cubicBezTo>
                <a:lnTo>
                  <a:pt x="2373327" y="1067997"/>
                </a:lnTo>
                <a:cubicBezTo>
                  <a:pt x="2373327" y="1133534"/>
                  <a:pt x="2320198" y="1186663"/>
                  <a:pt x="2254661" y="1186663"/>
                </a:cubicBezTo>
                <a:lnTo>
                  <a:pt x="118666" y="1186663"/>
                </a:lnTo>
                <a:cubicBezTo>
                  <a:pt x="53129" y="1186663"/>
                  <a:pt x="0" y="1133534"/>
                  <a:pt x="0" y="1067997"/>
                </a:cubicBezTo>
                <a:lnTo>
                  <a:pt x="0" y="118666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381" tIns="66506" rIns="82381" bIns="66506" numCol="1" spcCol="1270" anchor="ctr" anchorCtr="0">
            <a:noAutofit/>
          </a:bodyPr>
          <a:lstStyle/>
          <a:p>
            <a:pPr marL="0" lvl="0" indent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200" kern="1200"/>
              <a:t>Typo error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C3A2235-E033-4BA0-A68E-6CF030DB2D2B}"/>
              </a:ext>
            </a:extLst>
          </p:cNvPr>
          <p:cNvSpPr/>
          <p:nvPr/>
        </p:nvSpPr>
        <p:spPr>
          <a:xfrm>
            <a:off x="9153796" y="2444661"/>
            <a:ext cx="2519572" cy="2195684"/>
          </a:xfrm>
          <a:custGeom>
            <a:avLst/>
            <a:gdLst>
              <a:gd name="connsiteX0" fmla="*/ 0 w 2373327"/>
              <a:gd name="connsiteY0" fmla="*/ 118666 h 1186663"/>
              <a:gd name="connsiteX1" fmla="*/ 118666 w 2373327"/>
              <a:gd name="connsiteY1" fmla="*/ 0 h 1186663"/>
              <a:gd name="connsiteX2" fmla="*/ 2254661 w 2373327"/>
              <a:gd name="connsiteY2" fmla="*/ 0 h 1186663"/>
              <a:gd name="connsiteX3" fmla="*/ 2373327 w 2373327"/>
              <a:gd name="connsiteY3" fmla="*/ 118666 h 1186663"/>
              <a:gd name="connsiteX4" fmla="*/ 2373327 w 2373327"/>
              <a:gd name="connsiteY4" fmla="*/ 1067997 h 1186663"/>
              <a:gd name="connsiteX5" fmla="*/ 2254661 w 2373327"/>
              <a:gd name="connsiteY5" fmla="*/ 1186663 h 1186663"/>
              <a:gd name="connsiteX6" fmla="*/ 118666 w 2373327"/>
              <a:gd name="connsiteY6" fmla="*/ 1186663 h 1186663"/>
              <a:gd name="connsiteX7" fmla="*/ 0 w 2373327"/>
              <a:gd name="connsiteY7" fmla="*/ 1067997 h 1186663"/>
              <a:gd name="connsiteX8" fmla="*/ 0 w 2373327"/>
              <a:gd name="connsiteY8" fmla="*/ 118666 h 1186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73327" h="1186663">
                <a:moveTo>
                  <a:pt x="0" y="118666"/>
                </a:moveTo>
                <a:cubicBezTo>
                  <a:pt x="0" y="53129"/>
                  <a:pt x="53129" y="0"/>
                  <a:pt x="118666" y="0"/>
                </a:cubicBezTo>
                <a:lnTo>
                  <a:pt x="2254661" y="0"/>
                </a:lnTo>
                <a:cubicBezTo>
                  <a:pt x="2320198" y="0"/>
                  <a:pt x="2373327" y="53129"/>
                  <a:pt x="2373327" y="118666"/>
                </a:cubicBezTo>
                <a:lnTo>
                  <a:pt x="2373327" y="1067997"/>
                </a:lnTo>
                <a:cubicBezTo>
                  <a:pt x="2373327" y="1133534"/>
                  <a:pt x="2320198" y="1186663"/>
                  <a:pt x="2254661" y="1186663"/>
                </a:cubicBezTo>
                <a:lnTo>
                  <a:pt x="118666" y="1186663"/>
                </a:lnTo>
                <a:cubicBezTo>
                  <a:pt x="53129" y="1186663"/>
                  <a:pt x="0" y="1133534"/>
                  <a:pt x="0" y="1067997"/>
                </a:cubicBezTo>
                <a:lnTo>
                  <a:pt x="0" y="118666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381" tIns="66506" rIns="82381" bIns="66506" numCol="1" spcCol="1270" anchor="ctr" anchorCtr="0">
            <a:noAutofit/>
          </a:bodyPr>
          <a:lstStyle/>
          <a:p>
            <a:pPr marL="0" lvl="0" indent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200" kern="1200"/>
              <a:t>Code readability</a:t>
            </a:r>
          </a:p>
        </p:txBody>
      </p:sp>
    </p:spTree>
    <p:extLst>
      <p:ext uri="{BB962C8B-B14F-4D97-AF65-F5344CB8AC3E}">
        <p14:creationId xmlns:p14="http://schemas.microsoft.com/office/powerpoint/2010/main" val="2599959564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3A922AA-9DDA-4296-928B-438853EB77F6}"/>
              </a:ext>
            </a:extLst>
          </p:cNvPr>
          <p:cNvCxnSpPr>
            <a:cxnSpLocks/>
          </p:cNvCxnSpPr>
          <p:nvPr/>
        </p:nvCxnSpPr>
        <p:spPr>
          <a:xfrm flipH="1">
            <a:off x="7407797" y="2619094"/>
            <a:ext cx="2546431" cy="809906"/>
          </a:xfrm>
          <a:prstGeom prst="line">
            <a:avLst/>
          </a:prstGeom>
          <a:ln w="269875">
            <a:gradFill flip="none" rotWithShape="1">
              <a:gsLst>
                <a:gs pos="0">
                  <a:srgbClr val="2F5597"/>
                </a:gs>
                <a:gs pos="100000">
                  <a:srgbClr val="5B9BD5"/>
                </a:gs>
              </a:gsLst>
              <a:path path="circle">
                <a:fillToRect l="100000" t="100000"/>
              </a:path>
              <a:tileRect r="-100000" b="-100000"/>
            </a:gradFill>
            <a:miter lim="800000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8B8AB362-D520-48D5-980B-8B726C60EC19}"/>
              </a:ext>
            </a:extLst>
          </p:cNvPr>
          <p:cNvSpPr/>
          <p:nvPr/>
        </p:nvSpPr>
        <p:spPr>
          <a:xfrm>
            <a:off x="9864293" y="1482010"/>
            <a:ext cx="1894457" cy="189445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Berlin Sans FB Demi" panose="020E0802020502020306" pitchFamily="34" charset="0"/>
              </a:rPr>
              <a:t>Other goodies (batching, caching, parsers, etc.)</a:t>
            </a:r>
          </a:p>
          <a:p>
            <a:pPr algn="ctr"/>
            <a:endParaRPr lang="en-US" sz="1600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Berlin Sans FB Demi" panose="020E0802020502020306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4BC85F0-0E8F-4D31-BFA0-917BB39BBA17}"/>
              </a:ext>
            </a:extLst>
          </p:cNvPr>
          <p:cNvGrpSpPr/>
          <p:nvPr/>
        </p:nvGrpSpPr>
        <p:grpSpPr>
          <a:xfrm>
            <a:off x="6678592" y="282028"/>
            <a:ext cx="1608882" cy="2480270"/>
            <a:chOff x="6678592" y="282028"/>
            <a:chExt cx="1608882" cy="2480270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304A9BEB-D5E8-40BD-8CAE-19DB0CDB12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78592" y="1658971"/>
              <a:ext cx="532436" cy="1103327"/>
            </a:xfrm>
            <a:prstGeom prst="line">
              <a:avLst/>
            </a:prstGeom>
            <a:ln w="269875">
              <a:gradFill flip="none" rotWithShape="1">
                <a:gsLst>
                  <a:gs pos="0">
                    <a:srgbClr val="2F5597"/>
                  </a:gs>
                  <a:gs pos="100000">
                    <a:srgbClr val="5B9BD5"/>
                  </a:gs>
                </a:gsLst>
                <a:path path="circle">
                  <a:fillToRect l="100000" t="100000"/>
                </a:path>
                <a:tileRect r="-100000" b="-100000"/>
              </a:gradFill>
              <a:miter lim="800000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688405A-3584-4D13-8F07-F27A50067C7B}"/>
                </a:ext>
              </a:extLst>
            </p:cNvPr>
            <p:cNvSpPr/>
            <p:nvPr/>
          </p:nvSpPr>
          <p:spPr>
            <a:xfrm>
              <a:off x="6810366" y="282028"/>
              <a:ext cx="1477108" cy="1477108"/>
            </a:xfrm>
            <a:prstGeom prst="ellipse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Berlin Sans FB Demi" panose="020E0802020502020306" pitchFamily="34" charset="0"/>
                </a:rPr>
                <a:t>Fluent interfac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96E3F6D-DD76-44E9-B3A8-DF49AEB45C43}"/>
              </a:ext>
            </a:extLst>
          </p:cNvPr>
          <p:cNvGrpSpPr/>
          <p:nvPr/>
        </p:nvGrpSpPr>
        <p:grpSpPr>
          <a:xfrm>
            <a:off x="1411217" y="1496632"/>
            <a:ext cx="3253380" cy="2234195"/>
            <a:chOff x="1411217" y="1496632"/>
            <a:chExt cx="3253380" cy="2234195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9121A36-5336-437C-911E-2DB2BCDA2A35}"/>
                </a:ext>
              </a:extLst>
            </p:cNvPr>
            <p:cNvCxnSpPr>
              <a:cxnSpLocks/>
            </p:cNvCxnSpPr>
            <p:nvPr/>
          </p:nvCxnSpPr>
          <p:spPr>
            <a:xfrm>
              <a:off x="2951544" y="2836931"/>
              <a:ext cx="1713053" cy="893896"/>
            </a:xfrm>
            <a:prstGeom prst="line">
              <a:avLst/>
            </a:prstGeom>
            <a:ln w="269875">
              <a:gradFill flip="none" rotWithShape="1">
                <a:gsLst>
                  <a:gs pos="0">
                    <a:srgbClr val="2F5597"/>
                  </a:gs>
                  <a:gs pos="100000">
                    <a:srgbClr val="5B9BD5"/>
                  </a:gs>
                </a:gsLst>
                <a:path path="circle">
                  <a:fillToRect l="100000" t="100000"/>
                </a:path>
                <a:tileRect r="-100000" b="-100000"/>
              </a:gradFill>
              <a:miter lim="800000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CAE846-1A8E-475C-9D30-F6463B0E71F8}"/>
                </a:ext>
              </a:extLst>
            </p:cNvPr>
            <p:cNvSpPr/>
            <p:nvPr/>
          </p:nvSpPr>
          <p:spPr>
            <a:xfrm>
              <a:off x="1411217" y="1496632"/>
              <a:ext cx="1798655" cy="1798655"/>
            </a:xfrm>
            <a:prstGeom prst="ellipse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Berlin Sans FB Demi" panose="020E0802020502020306" pitchFamily="34" charset="0"/>
                </a:rPr>
                <a:t>Type checking 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Berlin Sans FB Demi" panose="020E0802020502020306" pitchFamily="34" charset="0"/>
                </a:rPr>
                <a:t>&amp;</a:t>
              </a:r>
              <a:br>
                <a:rPr lang="en-US" sz="1600" dirty="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Berlin Sans FB Demi" panose="020E0802020502020306" pitchFamily="34" charset="0"/>
                </a:rPr>
              </a:br>
              <a:r>
                <a:rPr lang="en-US" sz="1600" dirty="0" err="1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Berlin Sans FB Demi" panose="020E0802020502020306" pitchFamily="34" charset="0"/>
                </a:rPr>
                <a:t>intellisense</a:t>
              </a:r>
              <a:endParaRPr lang="en-US" sz="16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Berlin Sans FB Demi" panose="020E0802020502020306" pitchFamily="34" charset="0"/>
              </a:endParaRPr>
            </a:p>
          </p:txBody>
        </p:sp>
      </p:grpSp>
      <p:sp>
        <p:nvSpPr>
          <p:cNvPr id="2" name="Welcome">
            <a:extLst>
              <a:ext uri="{FF2B5EF4-FFF2-40B4-BE49-F238E27FC236}">
                <a16:creationId xmlns:a16="http://schemas.microsoft.com/office/drawing/2014/main" id="{A90E1ED1-B009-4028-9540-59A3FED18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745" y="49203"/>
            <a:ext cx="3865580" cy="1325563"/>
          </a:xfrm>
        </p:spPr>
        <p:txBody>
          <a:bodyPr/>
          <a:lstStyle/>
          <a:p>
            <a:r>
              <a:rPr lang="en-US" dirty="0"/>
              <a:t>Welcome </a:t>
            </a:r>
            <a:r>
              <a:rPr lang="en-US" dirty="0" err="1"/>
              <a:t>PnPjs</a:t>
            </a:r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628E2FB-1D29-474C-A86E-FD208540BDF5}"/>
              </a:ext>
            </a:extLst>
          </p:cNvPr>
          <p:cNvSpPr/>
          <p:nvPr/>
        </p:nvSpPr>
        <p:spPr>
          <a:xfrm>
            <a:off x="4570638" y="2511850"/>
            <a:ext cx="3050723" cy="3050723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5400" dirty="0" err="1"/>
              <a:t>PnPjs</a:t>
            </a:r>
            <a:endParaRPr lang="en-US" sz="5400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E5D9402-7788-4961-A6DF-528822324300}"/>
              </a:ext>
            </a:extLst>
          </p:cNvPr>
          <p:cNvSpPr/>
          <p:nvPr/>
        </p:nvSpPr>
        <p:spPr>
          <a:xfrm>
            <a:off x="4570639" y="3875434"/>
            <a:ext cx="1798655" cy="1798655"/>
          </a:xfrm>
          <a:prstGeom prst="ellipse">
            <a:avLst/>
          </a:prstGeom>
          <a:solidFill>
            <a:schemeClr val="accent6">
              <a:alpha val="7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arePoint REST API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1B2AEA5-1AD2-4DDA-9448-FD77885B62FC}"/>
              </a:ext>
            </a:extLst>
          </p:cNvPr>
          <p:cNvSpPr/>
          <p:nvPr/>
        </p:nvSpPr>
        <p:spPr>
          <a:xfrm>
            <a:off x="6947932" y="4032561"/>
            <a:ext cx="1565440" cy="1565440"/>
          </a:xfrm>
          <a:prstGeom prst="ellipse">
            <a:avLst/>
          </a:prstGeom>
          <a:solidFill>
            <a:schemeClr val="accent6">
              <a:alpha val="7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S Graph API</a:t>
            </a:r>
          </a:p>
        </p:txBody>
      </p:sp>
      <p:sp>
        <p:nvSpPr>
          <p:cNvPr id="80" name="Today">
            <a:extLst>
              <a:ext uri="{FF2B5EF4-FFF2-40B4-BE49-F238E27FC236}">
                <a16:creationId xmlns:a16="http://schemas.microsoft.com/office/drawing/2014/main" id="{2B723E13-2BC5-4EA7-B5DF-982786759920}"/>
              </a:ext>
            </a:extLst>
          </p:cNvPr>
          <p:cNvSpPr txBox="1">
            <a:spLocks/>
          </p:cNvSpPr>
          <p:nvPr/>
        </p:nvSpPr>
        <p:spPr>
          <a:xfrm>
            <a:off x="605144" y="61276"/>
            <a:ext cx="386558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PnPjs</a:t>
            </a:r>
            <a:r>
              <a:rPr lang="en-US" dirty="0"/>
              <a:t> today</a:t>
            </a:r>
          </a:p>
        </p:txBody>
      </p:sp>
      <p:sp>
        <p:nvSpPr>
          <p:cNvPr id="81" name="Near future">
            <a:extLst>
              <a:ext uri="{FF2B5EF4-FFF2-40B4-BE49-F238E27FC236}">
                <a16:creationId xmlns:a16="http://schemas.microsoft.com/office/drawing/2014/main" id="{84724362-813B-4497-98D3-656CBC09F996}"/>
              </a:ext>
            </a:extLst>
          </p:cNvPr>
          <p:cNvSpPr txBox="1">
            <a:spLocks/>
          </p:cNvSpPr>
          <p:nvPr/>
        </p:nvSpPr>
        <p:spPr>
          <a:xfrm>
            <a:off x="481047" y="49203"/>
            <a:ext cx="515949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PnPjs</a:t>
            </a:r>
            <a:r>
              <a:rPr lang="en-US" dirty="0"/>
              <a:t> soon</a:t>
            </a:r>
          </a:p>
        </p:txBody>
      </p:sp>
      <p:sp>
        <p:nvSpPr>
          <p:cNvPr id="82" name="further">
            <a:extLst>
              <a:ext uri="{FF2B5EF4-FFF2-40B4-BE49-F238E27FC236}">
                <a16:creationId xmlns:a16="http://schemas.microsoft.com/office/drawing/2014/main" id="{5AB9B336-5CE8-4058-97CD-499710603AB4}"/>
              </a:ext>
            </a:extLst>
          </p:cNvPr>
          <p:cNvSpPr txBox="1">
            <a:spLocks/>
          </p:cNvSpPr>
          <p:nvPr/>
        </p:nvSpPr>
        <p:spPr>
          <a:xfrm>
            <a:off x="411144" y="201603"/>
            <a:ext cx="515427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ven further in future</a:t>
            </a:r>
          </a:p>
        </p:txBody>
      </p:sp>
    </p:spTree>
    <p:extLst>
      <p:ext uri="{BB962C8B-B14F-4D97-AF65-F5344CB8AC3E}">
        <p14:creationId xmlns:p14="http://schemas.microsoft.com/office/powerpoint/2010/main" val="381752137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1000" fill="hold"/>
                                        <p:tgtEl>
                                          <p:spTgt spid="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1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6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0" dur="1000" fill="hold"/>
                                        <p:tgtEl>
                                          <p:spTgt spid="4"/>
                                        </p:tgtEl>
                                      </p:cBhvr>
                                      <p:by x="128000" y="1280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3.33333E-6 L -0.04778 -0.11412 " pathEditMode="relative" rAng="0" ptsTypes="AA">
                                      <p:cBhvr>
                                        <p:cTn id="7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96" y="-5718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4" dur="1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2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3" grpId="2" animBg="1"/>
      <p:bldP spid="2" grpId="0"/>
      <p:bldP spid="4" grpId="0" animBg="1"/>
      <p:bldP spid="4" grpId="1" animBg="1"/>
      <p:bldP spid="4" grpId="2" animBg="1"/>
      <p:bldP spid="40" grpId="0" animBg="1"/>
      <p:bldP spid="47" grpId="0" animBg="1"/>
      <p:bldP spid="47" grpId="1" animBg="1"/>
      <p:bldP spid="80" grpId="0"/>
      <p:bldP spid="80" grpId="1"/>
      <p:bldP spid="81" grpId="0"/>
      <p:bldP spid="81" grpId="1"/>
      <p:bldP spid="8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00</Words>
  <Application>Microsoft Office PowerPoint</Application>
  <PresentationFormat>Widescreen</PresentationFormat>
  <Paragraphs>158</Paragraphs>
  <Slides>20</Slides>
  <Notes>19</Notes>
  <HiddenSlides>2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Berlin Sans FB Demi</vt:lpstr>
      <vt:lpstr>Calibri</vt:lpstr>
      <vt:lpstr>Calibri Light</vt:lpstr>
      <vt:lpstr>Elephant</vt:lpstr>
      <vt:lpstr>Office Theme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olution of SharePoint data access methods</vt:lpstr>
      <vt:lpstr>Why REST? </vt:lpstr>
      <vt:lpstr>Consuming REST API: common developer issues</vt:lpstr>
      <vt:lpstr>Welcome PnPjs</vt:lpstr>
      <vt:lpstr>PnPJS 2.0 is coming!</vt:lpstr>
      <vt:lpstr>PowerPoint Presentation</vt:lpstr>
      <vt:lpstr>SharePoint versions </vt:lpstr>
      <vt:lpstr>SharePoint REST API in PnPjs</vt:lpstr>
      <vt:lpstr>MS Graph API in PnPjs</vt:lpstr>
      <vt:lpstr>PowerPoint Presentation</vt:lpstr>
      <vt:lpstr>PnPjs in-browser testing</vt:lpstr>
      <vt:lpstr>Helpers, utilities and advanced features</vt:lpstr>
      <vt:lpstr>PowerPoint Presentation</vt:lpstr>
      <vt:lpstr>Resour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5-14T11:30:58Z</dcterms:created>
  <dcterms:modified xsi:type="dcterms:W3CDTF">2019-05-14T11:31:09Z</dcterms:modified>
</cp:coreProperties>
</file>